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comments/modernComment_14E_5CE3ADEF.xml" ContentType="application/vnd.ms-powerpoint.comments+xml"/>
  <Override PartName="/ppt/notesSlides/notesSlide5.xml" ContentType="application/vnd.openxmlformats-officedocument.presentationml.notesSlide+xml"/>
  <Override PartName="/ppt/comments/modernComment_162_C0FCADC3.xml" ContentType="application/vnd.ms-powerpoint.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9" r:id="rId4"/>
  </p:sldMasterIdLst>
  <p:notesMasterIdLst>
    <p:notesMasterId r:id="rId87"/>
  </p:notesMasterIdLst>
  <p:sldIdLst>
    <p:sldId id="336" r:id="rId5"/>
    <p:sldId id="303" r:id="rId6"/>
    <p:sldId id="302" r:id="rId7"/>
    <p:sldId id="301" r:id="rId8"/>
    <p:sldId id="367" r:id="rId9"/>
    <p:sldId id="339" r:id="rId10"/>
    <p:sldId id="311" r:id="rId11"/>
    <p:sldId id="307" r:id="rId12"/>
    <p:sldId id="340" r:id="rId13"/>
    <p:sldId id="380" r:id="rId14"/>
    <p:sldId id="382" r:id="rId15"/>
    <p:sldId id="379" r:id="rId16"/>
    <p:sldId id="256" r:id="rId17"/>
    <p:sldId id="281" r:id="rId18"/>
    <p:sldId id="370" r:id="rId19"/>
    <p:sldId id="285" r:id="rId20"/>
    <p:sldId id="315" r:id="rId21"/>
    <p:sldId id="286" r:id="rId22"/>
    <p:sldId id="287" r:id="rId23"/>
    <p:sldId id="384" r:id="rId24"/>
    <p:sldId id="385" r:id="rId25"/>
    <p:sldId id="386" r:id="rId26"/>
    <p:sldId id="289" r:id="rId27"/>
    <p:sldId id="290" r:id="rId28"/>
    <p:sldId id="312" r:id="rId29"/>
    <p:sldId id="291" r:id="rId30"/>
    <p:sldId id="375" r:id="rId31"/>
    <p:sldId id="292" r:id="rId32"/>
    <p:sldId id="294" r:id="rId33"/>
    <p:sldId id="313" r:id="rId34"/>
    <p:sldId id="295" r:id="rId35"/>
    <p:sldId id="305" r:id="rId36"/>
    <p:sldId id="377" r:id="rId37"/>
    <p:sldId id="306" r:id="rId38"/>
    <p:sldId id="308" r:id="rId39"/>
    <p:sldId id="309" r:id="rId40"/>
    <p:sldId id="314" r:id="rId41"/>
    <p:sldId id="334" r:id="rId42"/>
    <p:sldId id="317" r:id="rId43"/>
    <p:sldId id="318" r:id="rId44"/>
    <p:sldId id="319" r:id="rId45"/>
    <p:sldId id="297" r:id="rId46"/>
    <p:sldId id="320" r:id="rId47"/>
    <p:sldId id="298" r:id="rId48"/>
    <p:sldId id="321" r:id="rId49"/>
    <p:sldId id="322" r:id="rId50"/>
    <p:sldId id="299" r:id="rId51"/>
    <p:sldId id="323" r:id="rId52"/>
    <p:sldId id="324" r:id="rId53"/>
    <p:sldId id="325" r:id="rId54"/>
    <p:sldId id="326" r:id="rId55"/>
    <p:sldId id="327" r:id="rId56"/>
    <p:sldId id="328" r:id="rId57"/>
    <p:sldId id="300" r:id="rId58"/>
    <p:sldId id="352" r:id="rId59"/>
    <p:sldId id="354" r:id="rId60"/>
    <p:sldId id="351" r:id="rId61"/>
    <p:sldId id="329" r:id="rId62"/>
    <p:sldId id="330" r:id="rId63"/>
    <p:sldId id="369" r:id="rId64"/>
    <p:sldId id="331" r:id="rId65"/>
    <p:sldId id="332" r:id="rId66"/>
    <p:sldId id="333" r:id="rId67"/>
    <p:sldId id="341" r:id="rId68"/>
    <p:sldId id="381" r:id="rId69"/>
    <p:sldId id="343" r:id="rId70"/>
    <p:sldId id="344" r:id="rId71"/>
    <p:sldId id="345" r:id="rId72"/>
    <p:sldId id="355" r:id="rId73"/>
    <p:sldId id="348" r:id="rId74"/>
    <p:sldId id="349" r:id="rId75"/>
    <p:sldId id="350" r:id="rId76"/>
    <p:sldId id="356" r:id="rId77"/>
    <p:sldId id="357" r:id="rId78"/>
    <p:sldId id="359" r:id="rId79"/>
    <p:sldId id="360" r:id="rId80"/>
    <p:sldId id="361" r:id="rId81"/>
    <p:sldId id="362" r:id="rId82"/>
    <p:sldId id="363" r:id="rId83"/>
    <p:sldId id="364" r:id="rId84"/>
    <p:sldId id="365" r:id="rId85"/>
    <p:sldId id="383" r:id="rId86"/>
  </p:sldIdLst>
  <p:sldSz cx="7559675" cy="10691813"/>
  <p:notesSz cx="6858000" cy="9144000"/>
  <p:embeddedFontLst>
    <p:embeddedFont>
      <p:font typeface="Anaheim" panose="020B0604020202020204" charset="0"/>
      <p:regular r:id="rId88"/>
      <p:bold r:id="rId89"/>
    </p:embeddedFont>
    <p:embeddedFont>
      <p:font typeface="Epilogue" panose="020B0604020202020204" charset="0"/>
      <p:regular r:id="rId90"/>
      <p:bold r:id="rId91"/>
      <p:italic r:id="rId92"/>
      <p:boldItalic r:id="rId93"/>
    </p:embeddedFont>
    <p:embeddedFont>
      <p:font typeface="Nunito Light" pitchFamily="2" charset="0"/>
      <p:regular r:id="rId94"/>
      <p:italic r:id="rId95"/>
    </p:embeddedFont>
    <p:embeddedFont>
      <p:font typeface="Sofia Sans" panose="020B0604020202020204" charset="0"/>
      <p:regular r:id="rId96"/>
      <p:bold r:id="rId97"/>
      <p:italic r:id="rId98"/>
      <p:boldItalic r:id="rId99"/>
    </p:embeddedFont>
  </p:embeddedFontLst>
  <p:custDataLst>
    <p:tags r:id="rId10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Intro" id="{B6B7486C-BDB0-4240-99CD-7BEDA7C856F1}">
          <p14:sldIdLst>
            <p14:sldId id="336"/>
            <p14:sldId id="303"/>
            <p14:sldId id="302"/>
            <p14:sldId id="301"/>
            <p14:sldId id="367"/>
            <p14:sldId id="339"/>
            <p14:sldId id="311"/>
            <p14:sldId id="307"/>
            <p14:sldId id="340"/>
            <p14:sldId id="380"/>
            <p14:sldId id="382"/>
            <p14:sldId id="379"/>
          </p14:sldIdLst>
        </p14:section>
        <p14:section name="Why PV" id="{9A5E7CF7-BCC2-46B0-8374-489034D55F2C}">
          <p14:sldIdLst/>
        </p14:section>
        <p14:section name="Chapter 1" id="{4EF93553-C4B9-4E08-9435-6AC76E573B76}">
          <p14:sldIdLst>
            <p14:sldId id="256"/>
            <p14:sldId id="281"/>
            <p14:sldId id="370"/>
          </p14:sldIdLst>
        </p14:section>
        <p14:section name="Light Colour" id="{1716A3BD-A40C-491A-A9C0-0E303E4E24B0}">
          <p14:sldIdLst>
            <p14:sldId id="285"/>
            <p14:sldId id="315"/>
            <p14:sldId id="286"/>
          </p14:sldIdLst>
        </p14:section>
        <p14:section name="Angle of Incidence" id="{DED47151-965A-4710-B915-1F881F495007}">
          <p14:sldIdLst>
            <p14:sldId id="287"/>
            <p14:sldId id="384"/>
            <p14:sldId id="385"/>
            <p14:sldId id="386"/>
          </p14:sldIdLst>
        </p14:section>
        <p14:section name="Light intensity" id="{73D7FBEF-90CF-42F9-97FD-608D45307A7D}">
          <p14:sldIdLst>
            <p14:sldId id="289"/>
            <p14:sldId id="290"/>
            <p14:sldId id="312"/>
          </p14:sldIdLst>
        </p14:section>
        <p14:section name="Impact of heat" id="{33B52254-63E1-4CC7-9230-1BC84352C467}">
          <p14:sldIdLst>
            <p14:sldId id="291"/>
            <p14:sldId id="375"/>
            <p14:sldId id="292"/>
            <p14:sldId id="294"/>
            <p14:sldId id="313"/>
          </p14:sldIdLst>
        </p14:section>
        <p14:section name="Impact of Pollution" id="{2E751ACF-583E-48C0-AA91-1ADEE8E962C9}">
          <p14:sldIdLst>
            <p14:sldId id="295"/>
            <p14:sldId id="305"/>
            <p14:sldId id="377"/>
          </p14:sldIdLst>
        </p14:section>
        <p14:section name="Impact of Shadows" id="{1F4963D2-CD52-4862-8399-99752DDD3F4B}">
          <p14:sldIdLst>
            <p14:sldId id="306"/>
            <p14:sldId id="308"/>
            <p14:sldId id="309"/>
            <p14:sldId id="314"/>
          </p14:sldIdLst>
        </p14:section>
        <p14:section name="Chapter 2" id="{AEA81A72-889F-40D2-9BCF-F9DFBFA87B8A}">
          <p14:sldIdLst>
            <p14:sldId id="334"/>
            <p14:sldId id="317"/>
          </p14:sldIdLst>
        </p14:section>
        <p14:section name="PV Panels in Series" id="{8908A1E6-C99C-498C-B731-88FB2A746144}">
          <p14:sldIdLst>
            <p14:sldId id="318"/>
            <p14:sldId id="319"/>
            <p14:sldId id="297"/>
          </p14:sldIdLst>
        </p14:section>
        <p14:section name="PV Panels in Parallel" id="{5770FD01-F509-4EFD-9764-97AA05516530}">
          <p14:sldIdLst>
            <p14:sldId id="320"/>
            <p14:sldId id="298"/>
            <p14:sldId id="321"/>
            <p14:sldId id="322"/>
          </p14:sldIdLst>
        </p14:section>
        <p14:section name="Fixed load" id="{6C31E035-E2B6-403B-B1E6-10F5BC4864A4}">
          <p14:sldIdLst>
            <p14:sldId id="299"/>
            <p14:sldId id="323"/>
            <p14:sldId id="324"/>
          </p14:sldIdLst>
        </p14:section>
        <p14:section name="Changing Load" id="{A62653D8-E7C2-4AC8-832D-FD913D5E9FE4}">
          <p14:sldIdLst>
            <p14:sldId id="325"/>
            <p14:sldId id="326"/>
            <p14:sldId id="327"/>
            <p14:sldId id="328"/>
          </p14:sldIdLst>
        </p14:section>
        <p14:section name="Local conditions and Load changes" id="{E287DFB3-21A8-4B7C-873C-1406DBF30AE5}">
          <p14:sldIdLst>
            <p14:sldId id="300"/>
            <p14:sldId id="352"/>
          </p14:sldIdLst>
        </p14:section>
        <p14:section name="Chapter 3" id="{4A7924AC-2001-4AE5-B061-C74553F4BA54}">
          <p14:sldIdLst>
            <p14:sldId id="354"/>
          </p14:sldIdLst>
        </p14:section>
        <p14:section name="MPPT" id="{A2F69505-9DB7-4C43-A2C8-4CF072AB1C9E}">
          <p14:sldIdLst>
            <p14:sldId id="351"/>
            <p14:sldId id="329"/>
            <p14:sldId id="330"/>
            <p14:sldId id="369"/>
          </p14:sldIdLst>
        </p14:section>
        <p14:section name="Controlling the MPPT" id="{78471EDB-1ADA-4099-83C6-307FE8324A70}">
          <p14:sldIdLst>
            <p14:sldId id="331"/>
            <p14:sldId id="332"/>
          </p14:sldIdLst>
        </p14:section>
        <p14:section name="PWM vs. MPPT" id="{C86346B7-E475-464C-AEDC-8755D4DC8FD0}">
          <p14:sldIdLst>
            <p14:sldId id="333"/>
          </p14:sldIdLst>
        </p14:section>
        <p14:section name="Data Exercises" id="{A9979472-9D63-42C4-BBA5-D05A927BCC52}">
          <p14:sldIdLst>
            <p14:sldId id="341"/>
            <p14:sldId id="381"/>
            <p14:sldId id="343"/>
            <p14:sldId id="344"/>
            <p14:sldId id="345"/>
            <p14:sldId id="355"/>
            <p14:sldId id="348"/>
            <p14:sldId id="349"/>
            <p14:sldId id="350"/>
            <p14:sldId id="356"/>
            <p14:sldId id="357"/>
            <p14:sldId id="359"/>
            <p14:sldId id="360"/>
            <p14:sldId id="361"/>
            <p14:sldId id="362"/>
            <p14:sldId id="363"/>
            <p14:sldId id="364"/>
            <p14:sldId id="365"/>
          </p14:sldIdLst>
        </p14:section>
        <p14:section name="Final" id="{059056D1-9043-4A10-8AEC-D73BD2864CCF}">
          <p14:sldIdLst>
            <p14:sldId id="383"/>
          </p14:sldIdLst>
        </p14:section>
      </p14:sectionLst>
    </p:ext>
    <p:ext uri="{EFAFB233-063F-42B5-8137-9DF3F51BA10A}">
      <p15:sldGuideLst xmlns:p15="http://schemas.microsoft.com/office/powerpoint/2012/main">
        <p15:guide id="1" orient="horz" pos="805" userDrawn="1">
          <p15:clr>
            <a:srgbClr val="747775"/>
          </p15:clr>
        </p15:guide>
        <p15:guide id="2" pos="45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03B108-D729-0B7B-F284-5EB93312FE99}" name="Aly Barakat" initials="AB" userId="S::aly.barakat@tum.de::59442ab7-ba36-4d6f-8096-0727d85e2b9f" providerId="AD"/>
  <p188:author id="{64E6464A-5D97-5117-DC4B-1867B4F10D38}" name="Antje-Lina Weber" initials="AW" userId="S::antje-lina.weber@tum.de::9f4ef15c-448f-435b-bcfd-c1b593e81006" providerId="AD"/>
  <p188:author id="{D1E10BB2-24E6-E7C9-95CA-A4D5C60F7381}" name="Johanna Marx" initials="JM" userId="S::Johanna17.Marx@tum.de::f7883e6b-b8f5-49bd-97ed-29afbba9d34b" providerId="AD"/>
  <p188:author id="{1ED934D9-1AF6-DEB9-071C-2AFB722CF825}" name="Nina Steger" initials="NS" userId="S::nina.steger@tum.de::efda762e-901d-408b-befd-9a071afe535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5F3EF"/>
    <a:srgbClr val="F0BB90"/>
    <a:srgbClr val="FBEDE1"/>
    <a:srgbClr val="F0E3D8"/>
    <a:srgbClr val="F9E6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9A2DFC-0E8E-4EE8-838A-2A40C8EE7081}" v="1" dt="2025-01-29T13:27:32.511"/>
  </p1510:revLst>
</p1510:revInfo>
</file>

<file path=ppt/tableStyles.xml><?xml version="1.0" encoding="utf-8"?>
<a:tblStyleLst xmlns:a="http://schemas.openxmlformats.org/drawingml/2006/main" def="{87981CF4-4D3E-4045-9ACF-D1447FECE155}">
  <a:tblStyle styleId="{87981CF4-4D3E-4045-9ACF-D1447FECE155}"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F0CFADBD-3245-443C-9B6D-9ACBA4CA32A5}"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5" d="100"/>
          <a:sy n="55" d="100"/>
        </p:scale>
        <p:origin x="2220" y="192"/>
      </p:cViewPr>
      <p:guideLst>
        <p:guide orient="horz" pos="805"/>
        <p:guide pos="45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font" Target="fonts/font2.fntdata"/><Relationship Id="rId16" Type="http://schemas.openxmlformats.org/officeDocument/2006/relationships/slide" Target="slides/slide12.xml"/><Relationship Id="rId107" Type="http://schemas.microsoft.com/office/2018/10/relationships/authors" Target="author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viewProps" Target="viewProps.xml"/><Relationship Id="rId5" Type="http://schemas.openxmlformats.org/officeDocument/2006/relationships/slide" Target="slides/slide1.xml"/><Relationship Id="rId90" Type="http://schemas.openxmlformats.org/officeDocument/2006/relationships/font" Target="fonts/font3.fntdata"/><Relationship Id="rId95" Type="http://schemas.openxmlformats.org/officeDocument/2006/relationships/font" Target="fonts/font8.fntdata"/><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font" Target="fonts/font1.fntdata"/><Relationship Id="rId91" Type="http://schemas.openxmlformats.org/officeDocument/2006/relationships/font" Target="fonts/font4.fntdata"/><Relationship Id="rId96"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font" Target="fonts/font7.fntdata"/><Relationship Id="rId99" Type="http://schemas.openxmlformats.org/officeDocument/2006/relationships/font" Target="fonts/font12.fntdata"/><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font" Target="fonts/font10.fntdata"/><Relationship Id="rId104"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font" Target="fonts/font5.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tags" Target="tags/tag1.xml"/><Relationship Id="rId105"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font" Target="fonts/font6.fntdata"/><Relationship Id="rId98" Type="http://schemas.openxmlformats.org/officeDocument/2006/relationships/font" Target="fonts/font11.fntdata"/><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y Barakat" userId="S::aly.barakat@tum.de::59442ab7-ba36-4d6f-8096-0727d85e2b9f" providerId="AD" clId="Web-{5E3FEE78-9C94-8FE3-941F-ABE9ED58800D}"/>
    <pc:docChg chg="modSld">
      <pc:chgData name="Aly Barakat" userId="S::aly.barakat@tum.de::59442ab7-ba36-4d6f-8096-0727d85e2b9f" providerId="AD" clId="Web-{5E3FEE78-9C94-8FE3-941F-ABE9ED58800D}" dt="2024-07-11T09:41:16.381" v="5" actId="14100"/>
      <pc:docMkLst>
        <pc:docMk/>
      </pc:docMkLst>
      <pc:sldChg chg="modSp">
        <pc:chgData name="Aly Barakat" userId="S::aly.barakat@tum.de::59442ab7-ba36-4d6f-8096-0727d85e2b9f" providerId="AD" clId="Web-{5E3FEE78-9C94-8FE3-941F-ABE9ED58800D}" dt="2024-07-11T09:20:53.104" v="1" actId="1076"/>
        <pc:sldMkLst>
          <pc:docMk/>
          <pc:sldMk cId="3419489590" sldId="288"/>
        </pc:sldMkLst>
      </pc:sldChg>
      <pc:sldChg chg="modSp">
        <pc:chgData name="Aly Barakat" userId="S::aly.barakat@tum.de::59442ab7-ba36-4d6f-8096-0727d85e2b9f" providerId="AD" clId="Web-{5E3FEE78-9C94-8FE3-941F-ABE9ED58800D}" dt="2024-07-11T09:41:16.381" v="5" actId="14100"/>
        <pc:sldMkLst>
          <pc:docMk/>
          <pc:sldMk cId="1836807439" sldId="290"/>
        </pc:sldMkLst>
      </pc:sldChg>
    </pc:docChg>
  </pc:docChgLst>
  <pc:docChgLst>
    <pc:chgData name="Antje-Lina Weber" userId="9f4ef15c-448f-435b-bcfd-c1b593e81006" providerId="ADAL" clId="{2F63B3F0-214F-4799-9A2E-47AC2D29EE0F}"/>
    <pc:docChg chg="undo redo custSel modSld sldOrd">
      <pc:chgData name="Antje-Lina Weber" userId="9f4ef15c-448f-435b-bcfd-c1b593e81006" providerId="ADAL" clId="{2F63B3F0-214F-4799-9A2E-47AC2D29EE0F}" dt="2024-07-17T20:27:38.998" v="216" actId="20577"/>
      <pc:docMkLst>
        <pc:docMk/>
      </pc:docMkLst>
      <pc:sldChg chg="addSp delSp modSp mod">
        <pc:chgData name="Antje-Lina Weber" userId="9f4ef15c-448f-435b-bcfd-c1b593e81006" providerId="ADAL" clId="{2F63B3F0-214F-4799-9A2E-47AC2D29EE0F}" dt="2024-07-17T19:52:15.101" v="141" actId="1076"/>
        <pc:sldMkLst>
          <pc:docMk/>
          <pc:sldMk cId="1601966315" sldId="285"/>
        </pc:sldMkLst>
      </pc:sldChg>
      <pc:sldChg chg="modSp mod">
        <pc:chgData name="Antje-Lina Weber" userId="9f4ef15c-448f-435b-bcfd-c1b593e81006" providerId="ADAL" clId="{2F63B3F0-214F-4799-9A2E-47AC2D29EE0F}" dt="2024-07-17T20:27:38.998" v="216" actId="20577"/>
        <pc:sldMkLst>
          <pc:docMk/>
          <pc:sldMk cId="3553033900" sldId="287"/>
        </pc:sldMkLst>
      </pc:sldChg>
      <pc:sldChg chg="modSp mod">
        <pc:chgData name="Antje-Lina Weber" userId="9f4ef15c-448f-435b-bcfd-c1b593e81006" providerId="ADAL" clId="{2F63B3F0-214F-4799-9A2E-47AC2D29EE0F}" dt="2024-07-17T20:17:59.947" v="169" actId="20577"/>
        <pc:sldMkLst>
          <pc:docMk/>
          <pc:sldMk cId="3118018366" sldId="291"/>
        </pc:sldMkLst>
      </pc:sldChg>
      <pc:sldChg chg="modSp mod">
        <pc:chgData name="Antje-Lina Weber" userId="9f4ef15c-448f-435b-bcfd-c1b593e81006" providerId="ADAL" clId="{2F63B3F0-214F-4799-9A2E-47AC2D29EE0F}" dt="2024-07-17T20:22:45.287" v="208" actId="2711"/>
        <pc:sldMkLst>
          <pc:docMk/>
          <pc:sldMk cId="1997358788" sldId="297"/>
        </pc:sldMkLst>
      </pc:sldChg>
      <pc:sldChg chg="modSp mod">
        <pc:chgData name="Antje-Lina Weber" userId="9f4ef15c-448f-435b-bcfd-c1b593e81006" providerId="ADAL" clId="{2F63B3F0-214F-4799-9A2E-47AC2D29EE0F}" dt="2024-07-17T20:20:31.444" v="201" actId="108"/>
        <pc:sldMkLst>
          <pc:docMk/>
          <pc:sldMk cId="2790215641" sldId="308"/>
        </pc:sldMkLst>
      </pc:sldChg>
      <pc:sldChg chg="modSp mod">
        <pc:chgData name="Antje-Lina Weber" userId="9f4ef15c-448f-435b-bcfd-c1b593e81006" providerId="ADAL" clId="{2F63B3F0-214F-4799-9A2E-47AC2D29EE0F}" dt="2024-07-17T20:21:49.398" v="205" actId="2711"/>
        <pc:sldMkLst>
          <pc:docMk/>
          <pc:sldMk cId="767817792" sldId="314"/>
        </pc:sldMkLst>
      </pc:sldChg>
      <pc:sldChg chg="modSp mod">
        <pc:chgData name="Antje-Lina Weber" userId="9f4ef15c-448f-435b-bcfd-c1b593e81006" providerId="ADAL" clId="{2F63B3F0-214F-4799-9A2E-47AC2D29EE0F}" dt="2024-07-17T20:23:21.811" v="209" actId="2711"/>
        <pc:sldMkLst>
          <pc:docMk/>
          <pc:sldMk cId="16049607" sldId="322"/>
        </pc:sldMkLst>
      </pc:sldChg>
      <pc:sldChg chg="modSp mod">
        <pc:chgData name="Antje-Lina Weber" userId="9f4ef15c-448f-435b-bcfd-c1b593e81006" providerId="ADAL" clId="{2F63B3F0-214F-4799-9A2E-47AC2D29EE0F}" dt="2024-07-17T20:23:38.951" v="210" actId="2711"/>
        <pc:sldMkLst>
          <pc:docMk/>
          <pc:sldMk cId="2591005778" sldId="324"/>
        </pc:sldMkLst>
      </pc:sldChg>
      <pc:sldChg chg="modSp mod">
        <pc:chgData name="Antje-Lina Weber" userId="9f4ef15c-448f-435b-bcfd-c1b593e81006" providerId="ADAL" clId="{2F63B3F0-214F-4799-9A2E-47AC2D29EE0F}" dt="2024-07-17T20:23:57.293" v="211" actId="2711"/>
        <pc:sldMkLst>
          <pc:docMk/>
          <pc:sldMk cId="915207829" sldId="328"/>
        </pc:sldMkLst>
      </pc:sldChg>
      <pc:sldChg chg="modSp mod">
        <pc:chgData name="Antje-Lina Weber" userId="9f4ef15c-448f-435b-bcfd-c1b593e81006" providerId="ADAL" clId="{2F63B3F0-214F-4799-9A2E-47AC2D29EE0F}" dt="2024-07-17T20:24:43.655" v="213" actId="2711"/>
        <pc:sldMkLst>
          <pc:docMk/>
          <pc:sldMk cId="659666124" sldId="332"/>
        </pc:sldMkLst>
      </pc:sldChg>
      <pc:sldChg chg="modSp mod">
        <pc:chgData name="Antje-Lina Weber" userId="9f4ef15c-448f-435b-bcfd-c1b593e81006" providerId="ADAL" clId="{2F63B3F0-214F-4799-9A2E-47AC2D29EE0F}" dt="2024-07-17T20:25:49.689" v="214" actId="2711"/>
        <pc:sldMkLst>
          <pc:docMk/>
          <pc:sldMk cId="1361510755" sldId="333"/>
        </pc:sldMkLst>
      </pc:sldChg>
      <pc:sldChg chg="modSp mod">
        <pc:chgData name="Antje-Lina Weber" userId="9f4ef15c-448f-435b-bcfd-c1b593e81006" providerId="ADAL" clId="{2F63B3F0-214F-4799-9A2E-47AC2D29EE0F}" dt="2024-07-17T20:24:27.146" v="212" actId="2711"/>
        <pc:sldMkLst>
          <pc:docMk/>
          <pc:sldMk cId="2573843723" sldId="369"/>
        </pc:sldMkLst>
      </pc:sldChg>
      <pc:sldChg chg="modSp mod ord">
        <pc:chgData name="Antje-Lina Weber" userId="9f4ef15c-448f-435b-bcfd-c1b593e81006" providerId="ADAL" clId="{2F63B3F0-214F-4799-9A2E-47AC2D29EE0F}" dt="2024-07-17T19:45:18.306" v="136" actId="6549"/>
        <pc:sldMkLst>
          <pc:docMk/>
          <pc:sldMk cId="1237709550" sldId="374"/>
        </pc:sldMkLst>
      </pc:sldChg>
      <pc:sldChg chg="modSp mod">
        <pc:chgData name="Antje-Lina Weber" userId="9f4ef15c-448f-435b-bcfd-c1b593e81006" providerId="ADAL" clId="{2F63B3F0-214F-4799-9A2E-47AC2D29EE0F}" dt="2024-07-17T20:18:33.031" v="200" actId="20577"/>
        <pc:sldMkLst>
          <pc:docMk/>
          <pc:sldMk cId="2849113408" sldId="375"/>
        </pc:sldMkLst>
      </pc:sldChg>
    </pc:docChg>
  </pc:docChgLst>
  <pc:docChgLst>
    <pc:chgData name="Nina Steger" userId="S::nina.steger@tum.de::efda762e-901d-408b-befd-9a071afe5357" providerId="AD" clId="Web-{E0CFB551-4B6E-CC67-116B-B8BDF469E60B}"/>
    <pc:docChg chg="addSld modSld sldOrd addSection delSection modSection">
      <pc:chgData name="Nina Steger" userId="S::nina.steger@tum.de::efda762e-901d-408b-befd-9a071afe5357" providerId="AD" clId="Web-{E0CFB551-4B6E-CC67-116B-B8BDF469E60B}" dt="2024-07-16T20:31:37.704" v="46"/>
      <pc:docMkLst>
        <pc:docMk/>
      </pc:docMkLst>
      <pc:sldChg chg="modSp">
        <pc:chgData name="Nina Steger" userId="S::nina.steger@tum.de::efda762e-901d-408b-befd-9a071afe5357" providerId="AD" clId="Web-{E0CFB551-4B6E-CC67-116B-B8BDF469E60B}" dt="2024-07-16T20:05:29.101" v="25"/>
        <pc:sldMkLst>
          <pc:docMk/>
          <pc:sldMk cId="2457093950" sldId="281"/>
        </pc:sldMkLst>
      </pc:sldChg>
      <pc:sldChg chg="modSp modCm">
        <pc:chgData name="Nina Steger" userId="S::nina.steger@tum.de::efda762e-901d-408b-befd-9a071afe5357" providerId="AD" clId="Web-{E0CFB551-4B6E-CC67-116B-B8BDF469E60B}" dt="2024-07-16T19:17:43.709" v="4" actId="20577"/>
        <pc:sldMkLst>
          <pc:docMk/>
          <pc:sldMk cId="2977954321" sldId="304"/>
        </pc:sldMkLst>
        <pc:extLst>
          <p:ext xmlns:p="http://schemas.openxmlformats.org/presentationml/2006/main" uri="{D6D511B9-2390-475A-947B-AFAB55BFBCF1}">
            <pc226:cmChg xmlns:pc226="http://schemas.microsoft.com/office/powerpoint/2022/06/main/command" chg="mod">
              <pc226:chgData name="Nina Steger" userId="S::nina.steger@tum.de::efda762e-901d-408b-befd-9a071afe5357" providerId="AD" clId="Web-{E0CFB551-4B6E-CC67-116B-B8BDF469E60B}" dt="2024-07-16T19:17:32.877" v="1" actId="20577"/>
              <pc2:cmMkLst xmlns:pc2="http://schemas.microsoft.com/office/powerpoint/2019/9/main/command">
                <pc:docMk/>
                <pc:sldMk cId="2977954321" sldId="304"/>
                <pc2:cmMk id="{62F6486F-00F4-4909-B2AC-816A058E57BD}"/>
              </pc2:cmMkLst>
            </pc226:cmChg>
          </p:ext>
        </pc:extLst>
      </pc:sldChg>
      <pc:sldChg chg="modSp add replId">
        <pc:chgData name="Nina Steger" userId="S::nina.steger@tum.de::efda762e-901d-408b-befd-9a071afe5357" providerId="AD" clId="Web-{E0CFB551-4B6E-CC67-116B-B8BDF469E60B}" dt="2024-07-16T20:30:33.421" v="41" actId="20577"/>
        <pc:sldMkLst>
          <pc:docMk/>
          <pc:sldMk cId="3237785027" sldId="354"/>
        </pc:sldMkLst>
      </pc:sldChg>
    </pc:docChg>
  </pc:docChgLst>
  <pc:docChgLst>
    <pc:chgData name="Johanna Marx" userId="f7883e6b-b8f5-49bd-97ed-29afbba9d34b" providerId="ADAL" clId="{1F9A2DFC-0E8E-4EE8-838A-2A40C8EE7081}"/>
    <pc:docChg chg="undo custSel modSld">
      <pc:chgData name="Johanna Marx" userId="f7883e6b-b8f5-49bd-97ed-29afbba9d34b" providerId="ADAL" clId="{1F9A2DFC-0E8E-4EE8-838A-2A40C8EE7081}" dt="2025-01-29T13:35:01.537" v="62" actId="108"/>
      <pc:docMkLst>
        <pc:docMk/>
      </pc:docMkLst>
      <pc:sldChg chg="modSp mod">
        <pc:chgData name="Johanna Marx" userId="f7883e6b-b8f5-49bd-97ed-29afbba9d34b" providerId="ADAL" clId="{1F9A2DFC-0E8E-4EE8-838A-2A40C8EE7081}" dt="2025-01-29T13:29:14.549" v="23" actId="108"/>
        <pc:sldMkLst>
          <pc:docMk/>
          <pc:sldMk cId="1601966315" sldId="285"/>
        </pc:sldMkLst>
        <pc:spChg chg="mod">
          <ac:chgData name="Johanna Marx" userId="f7883e6b-b8f5-49bd-97ed-29afbba9d34b" providerId="ADAL" clId="{1F9A2DFC-0E8E-4EE8-838A-2A40C8EE7081}" dt="2025-01-29T13:29:14.549" v="23" actId="108"/>
          <ac:spMkLst>
            <pc:docMk/>
            <pc:sldMk cId="1601966315" sldId="285"/>
            <ac:spMk id="6" creationId="{60826006-F73F-8F4D-B400-0565C4DD04A9}"/>
          </ac:spMkLst>
        </pc:spChg>
      </pc:sldChg>
      <pc:sldChg chg="modSp mod">
        <pc:chgData name="Johanna Marx" userId="f7883e6b-b8f5-49bd-97ed-29afbba9d34b" providerId="ADAL" clId="{1F9A2DFC-0E8E-4EE8-838A-2A40C8EE7081}" dt="2025-01-29T13:29:23.189" v="25" actId="108"/>
        <pc:sldMkLst>
          <pc:docMk/>
          <pc:sldMk cId="3573279774" sldId="286"/>
        </pc:sldMkLst>
        <pc:spChg chg="mod">
          <ac:chgData name="Johanna Marx" userId="f7883e6b-b8f5-49bd-97ed-29afbba9d34b" providerId="ADAL" clId="{1F9A2DFC-0E8E-4EE8-838A-2A40C8EE7081}" dt="2025-01-29T13:29:23.189" v="25" actId="108"/>
          <ac:spMkLst>
            <pc:docMk/>
            <pc:sldMk cId="3573279774" sldId="286"/>
            <ac:spMk id="13" creationId="{5F9EFBBC-0843-916D-6F42-A204AFC7FED5}"/>
          </ac:spMkLst>
        </pc:spChg>
      </pc:sldChg>
      <pc:sldChg chg="modSp mod">
        <pc:chgData name="Johanna Marx" userId="f7883e6b-b8f5-49bd-97ed-29afbba9d34b" providerId="ADAL" clId="{1F9A2DFC-0E8E-4EE8-838A-2A40C8EE7081}" dt="2025-01-29T13:29:32.247" v="27" actId="108"/>
        <pc:sldMkLst>
          <pc:docMk/>
          <pc:sldMk cId="3553033900" sldId="287"/>
        </pc:sldMkLst>
        <pc:spChg chg="mod">
          <ac:chgData name="Johanna Marx" userId="f7883e6b-b8f5-49bd-97ed-29afbba9d34b" providerId="ADAL" clId="{1F9A2DFC-0E8E-4EE8-838A-2A40C8EE7081}" dt="2025-01-29T13:29:32.247" v="27" actId="108"/>
          <ac:spMkLst>
            <pc:docMk/>
            <pc:sldMk cId="3553033900" sldId="287"/>
            <ac:spMk id="6" creationId="{60826006-F73F-8F4D-B400-0565C4DD04A9}"/>
          </ac:spMkLst>
        </pc:spChg>
      </pc:sldChg>
      <pc:sldChg chg="modSp mod">
        <pc:chgData name="Johanna Marx" userId="f7883e6b-b8f5-49bd-97ed-29afbba9d34b" providerId="ADAL" clId="{1F9A2DFC-0E8E-4EE8-838A-2A40C8EE7081}" dt="2025-01-29T13:29:52.182" v="32" actId="108"/>
        <pc:sldMkLst>
          <pc:docMk/>
          <pc:sldMk cId="3909716140" sldId="289"/>
        </pc:sldMkLst>
        <pc:spChg chg="mod">
          <ac:chgData name="Johanna Marx" userId="f7883e6b-b8f5-49bd-97ed-29afbba9d34b" providerId="ADAL" clId="{1F9A2DFC-0E8E-4EE8-838A-2A40C8EE7081}" dt="2025-01-29T13:29:52.182" v="32" actId="108"/>
          <ac:spMkLst>
            <pc:docMk/>
            <pc:sldMk cId="3909716140" sldId="289"/>
            <ac:spMk id="8" creationId="{D27AED94-0BC5-9DF8-6696-1DD956FA90BB}"/>
          </ac:spMkLst>
        </pc:spChg>
      </pc:sldChg>
      <pc:sldChg chg="modSp mod">
        <pc:chgData name="Johanna Marx" userId="f7883e6b-b8f5-49bd-97ed-29afbba9d34b" providerId="ADAL" clId="{1F9A2DFC-0E8E-4EE8-838A-2A40C8EE7081}" dt="2025-01-29T13:30:05.477" v="38" actId="108"/>
        <pc:sldMkLst>
          <pc:docMk/>
          <pc:sldMk cId="1836807439" sldId="290"/>
        </pc:sldMkLst>
        <pc:spChg chg="mod">
          <ac:chgData name="Johanna Marx" userId="f7883e6b-b8f5-49bd-97ed-29afbba9d34b" providerId="ADAL" clId="{1F9A2DFC-0E8E-4EE8-838A-2A40C8EE7081}" dt="2025-01-29T13:30:05.477" v="38" actId="108"/>
          <ac:spMkLst>
            <pc:docMk/>
            <pc:sldMk cId="1836807439" sldId="290"/>
            <ac:spMk id="7" creationId="{DFE1BEB1-38CD-4064-71E1-D511C56F4B28}"/>
          </ac:spMkLst>
        </pc:spChg>
        <pc:spChg chg="mod">
          <ac:chgData name="Johanna Marx" userId="f7883e6b-b8f5-49bd-97ed-29afbba9d34b" providerId="ADAL" clId="{1F9A2DFC-0E8E-4EE8-838A-2A40C8EE7081}" dt="2025-01-29T13:29:56.991" v="33" actId="108"/>
          <ac:spMkLst>
            <pc:docMk/>
            <pc:sldMk cId="1836807439" sldId="290"/>
            <ac:spMk id="8" creationId="{DAF85E11-CE5A-A22E-E50F-181B526F63F8}"/>
          </ac:spMkLst>
        </pc:spChg>
      </pc:sldChg>
      <pc:sldChg chg="modSp mod">
        <pc:chgData name="Johanna Marx" userId="f7883e6b-b8f5-49bd-97ed-29afbba9d34b" providerId="ADAL" clId="{1F9A2DFC-0E8E-4EE8-838A-2A40C8EE7081}" dt="2025-01-29T13:30:20.956" v="40" actId="108"/>
        <pc:sldMkLst>
          <pc:docMk/>
          <pc:sldMk cId="3118018366" sldId="291"/>
        </pc:sldMkLst>
        <pc:spChg chg="mod">
          <ac:chgData name="Johanna Marx" userId="f7883e6b-b8f5-49bd-97ed-29afbba9d34b" providerId="ADAL" clId="{1F9A2DFC-0E8E-4EE8-838A-2A40C8EE7081}" dt="2025-01-29T13:30:20.956" v="40" actId="108"/>
          <ac:spMkLst>
            <pc:docMk/>
            <pc:sldMk cId="3118018366" sldId="291"/>
            <ac:spMk id="13" creationId="{A14DCE1E-4982-0A75-638F-94F2C0296AE5}"/>
          </ac:spMkLst>
        </pc:spChg>
      </pc:sldChg>
      <pc:sldChg chg="modSp mod">
        <pc:chgData name="Johanna Marx" userId="f7883e6b-b8f5-49bd-97ed-29afbba9d34b" providerId="ADAL" clId="{1F9A2DFC-0E8E-4EE8-838A-2A40C8EE7081}" dt="2025-01-29T13:30:40.064" v="45" actId="108"/>
        <pc:sldMkLst>
          <pc:docMk/>
          <pc:sldMk cId="3807836379" sldId="292"/>
        </pc:sldMkLst>
        <pc:spChg chg="mod">
          <ac:chgData name="Johanna Marx" userId="f7883e6b-b8f5-49bd-97ed-29afbba9d34b" providerId="ADAL" clId="{1F9A2DFC-0E8E-4EE8-838A-2A40C8EE7081}" dt="2025-01-29T13:30:37.443" v="44" actId="108"/>
          <ac:spMkLst>
            <pc:docMk/>
            <pc:sldMk cId="3807836379" sldId="292"/>
            <ac:spMk id="14" creationId="{164A22D0-9043-16A3-F739-B3B9A32DDB2B}"/>
          </ac:spMkLst>
        </pc:spChg>
        <pc:spChg chg="mod">
          <ac:chgData name="Johanna Marx" userId="f7883e6b-b8f5-49bd-97ed-29afbba9d34b" providerId="ADAL" clId="{1F9A2DFC-0E8E-4EE8-838A-2A40C8EE7081}" dt="2025-01-29T13:30:40.064" v="45" actId="108"/>
          <ac:spMkLst>
            <pc:docMk/>
            <pc:sldMk cId="3807836379" sldId="292"/>
            <ac:spMk id="60" creationId="{352E27B8-2F4E-F6BD-6C79-E9272D547747}"/>
          </ac:spMkLst>
        </pc:spChg>
      </pc:sldChg>
      <pc:sldChg chg="modSp mod">
        <pc:chgData name="Johanna Marx" userId="f7883e6b-b8f5-49bd-97ed-29afbba9d34b" providerId="ADAL" clId="{1F9A2DFC-0E8E-4EE8-838A-2A40C8EE7081}" dt="2025-01-29T13:34:54.441" v="60" actId="108"/>
        <pc:sldMkLst>
          <pc:docMk/>
          <pc:sldMk cId="855508414" sldId="301"/>
        </pc:sldMkLst>
        <pc:spChg chg="mod">
          <ac:chgData name="Johanna Marx" userId="f7883e6b-b8f5-49bd-97ed-29afbba9d34b" providerId="ADAL" clId="{1F9A2DFC-0E8E-4EE8-838A-2A40C8EE7081}" dt="2025-01-29T13:34:47.818" v="59" actId="11"/>
          <ac:spMkLst>
            <pc:docMk/>
            <pc:sldMk cId="855508414" sldId="301"/>
            <ac:spMk id="45" creationId="{FDA57636-E66E-F394-3E03-5D03159A3A34}"/>
          </ac:spMkLst>
        </pc:spChg>
        <pc:spChg chg="mod">
          <ac:chgData name="Johanna Marx" userId="f7883e6b-b8f5-49bd-97ed-29afbba9d34b" providerId="ADAL" clId="{1F9A2DFC-0E8E-4EE8-838A-2A40C8EE7081}" dt="2025-01-29T13:34:54.441" v="60" actId="108"/>
          <ac:spMkLst>
            <pc:docMk/>
            <pc:sldMk cId="855508414" sldId="301"/>
            <ac:spMk id="47" creationId="{B4038930-0E51-1F15-F0BF-04F535E1BD00}"/>
          </ac:spMkLst>
        </pc:spChg>
      </pc:sldChg>
      <pc:sldChg chg="modSp mod">
        <pc:chgData name="Johanna Marx" userId="f7883e6b-b8f5-49bd-97ed-29afbba9d34b" providerId="ADAL" clId="{1F9A2DFC-0E8E-4EE8-838A-2A40C8EE7081}" dt="2025-01-29T13:28:02.882" v="13" actId="108"/>
        <pc:sldMkLst>
          <pc:docMk/>
          <pc:sldMk cId="1608053785" sldId="303"/>
        </pc:sldMkLst>
        <pc:spChg chg="mod">
          <ac:chgData name="Johanna Marx" userId="f7883e6b-b8f5-49bd-97ed-29afbba9d34b" providerId="ADAL" clId="{1F9A2DFC-0E8E-4EE8-838A-2A40C8EE7081}" dt="2025-01-29T13:28:02.882" v="13" actId="108"/>
          <ac:spMkLst>
            <pc:docMk/>
            <pc:sldMk cId="1608053785" sldId="303"/>
            <ac:spMk id="7" creationId="{48E25BC3-2A78-5F2C-F720-366C9B167CBD}"/>
          </ac:spMkLst>
        </pc:spChg>
      </pc:sldChg>
      <pc:sldChg chg="modSp mod">
        <pc:chgData name="Johanna Marx" userId="f7883e6b-b8f5-49bd-97ed-29afbba9d34b" providerId="ADAL" clId="{1F9A2DFC-0E8E-4EE8-838A-2A40C8EE7081}" dt="2025-01-29T13:28:44.310" v="20" actId="108"/>
        <pc:sldMkLst>
          <pc:docMk/>
          <pc:sldMk cId="656948936" sldId="307"/>
        </pc:sldMkLst>
        <pc:spChg chg="mod">
          <ac:chgData name="Johanna Marx" userId="f7883e6b-b8f5-49bd-97ed-29afbba9d34b" providerId="ADAL" clId="{1F9A2DFC-0E8E-4EE8-838A-2A40C8EE7081}" dt="2025-01-29T13:28:44.310" v="20" actId="108"/>
          <ac:spMkLst>
            <pc:docMk/>
            <pc:sldMk cId="656948936" sldId="307"/>
            <ac:spMk id="18" creationId="{9D402FC9-B003-6ABB-29C8-CFE131F86AFE}"/>
          </ac:spMkLst>
        </pc:spChg>
      </pc:sldChg>
      <pc:sldChg chg="modSp mod">
        <pc:chgData name="Johanna Marx" userId="f7883e6b-b8f5-49bd-97ed-29afbba9d34b" providerId="ADAL" clId="{1F9A2DFC-0E8E-4EE8-838A-2A40C8EE7081}" dt="2025-01-29T13:31:00.965" v="46" actId="108"/>
        <pc:sldMkLst>
          <pc:docMk/>
          <pc:sldMk cId="3944894673" sldId="309"/>
        </pc:sldMkLst>
        <pc:spChg chg="mod">
          <ac:chgData name="Johanna Marx" userId="f7883e6b-b8f5-49bd-97ed-29afbba9d34b" providerId="ADAL" clId="{1F9A2DFC-0E8E-4EE8-838A-2A40C8EE7081}" dt="2025-01-29T13:31:00.965" v="46" actId="108"/>
          <ac:spMkLst>
            <pc:docMk/>
            <pc:sldMk cId="3944894673" sldId="309"/>
            <ac:spMk id="4" creationId="{BB9C1EDD-6040-E393-2638-177A16B648BC}"/>
          </ac:spMkLst>
        </pc:spChg>
      </pc:sldChg>
      <pc:sldChg chg="modSp mod">
        <pc:chgData name="Johanna Marx" userId="f7883e6b-b8f5-49bd-97ed-29afbba9d34b" providerId="ADAL" clId="{1F9A2DFC-0E8E-4EE8-838A-2A40C8EE7081}" dt="2025-01-29T13:28:39.065" v="19" actId="108"/>
        <pc:sldMkLst>
          <pc:docMk/>
          <pc:sldMk cId="4118735400" sldId="311"/>
        </pc:sldMkLst>
        <pc:spChg chg="mod">
          <ac:chgData name="Johanna Marx" userId="f7883e6b-b8f5-49bd-97ed-29afbba9d34b" providerId="ADAL" clId="{1F9A2DFC-0E8E-4EE8-838A-2A40C8EE7081}" dt="2025-01-29T13:28:39.065" v="19" actId="108"/>
          <ac:spMkLst>
            <pc:docMk/>
            <pc:sldMk cId="4118735400" sldId="311"/>
            <ac:spMk id="6" creationId="{6D948975-7DED-F9AE-D7E2-F1D1967F6784}"/>
          </ac:spMkLst>
        </pc:spChg>
      </pc:sldChg>
      <pc:sldChg chg="modSp mod">
        <pc:chgData name="Johanna Marx" userId="f7883e6b-b8f5-49bd-97ed-29afbba9d34b" providerId="ADAL" clId="{1F9A2DFC-0E8E-4EE8-838A-2A40C8EE7081}" dt="2025-01-29T13:30:14.057" v="39" actId="108"/>
        <pc:sldMkLst>
          <pc:docMk/>
          <pc:sldMk cId="1054077313" sldId="312"/>
        </pc:sldMkLst>
        <pc:spChg chg="mod">
          <ac:chgData name="Johanna Marx" userId="f7883e6b-b8f5-49bd-97ed-29afbba9d34b" providerId="ADAL" clId="{1F9A2DFC-0E8E-4EE8-838A-2A40C8EE7081}" dt="2025-01-29T13:30:14.057" v="39" actId="108"/>
          <ac:spMkLst>
            <pc:docMk/>
            <pc:sldMk cId="1054077313" sldId="312"/>
            <ac:spMk id="12" creationId="{D98AF8AF-3600-D5A6-E0F7-343717CEDCCA}"/>
          </ac:spMkLst>
        </pc:spChg>
      </pc:sldChg>
      <pc:sldChg chg="modSp mod">
        <pc:chgData name="Johanna Marx" userId="f7883e6b-b8f5-49bd-97ed-29afbba9d34b" providerId="ADAL" clId="{1F9A2DFC-0E8E-4EE8-838A-2A40C8EE7081}" dt="2025-01-29T13:29:18.103" v="24" actId="108"/>
        <pc:sldMkLst>
          <pc:docMk/>
          <pc:sldMk cId="3420601596" sldId="315"/>
        </pc:sldMkLst>
        <pc:spChg chg="mod">
          <ac:chgData name="Johanna Marx" userId="f7883e6b-b8f5-49bd-97ed-29afbba9d34b" providerId="ADAL" clId="{1F9A2DFC-0E8E-4EE8-838A-2A40C8EE7081}" dt="2025-01-29T13:29:18.103" v="24" actId="108"/>
          <ac:spMkLst>
            <pc:docMk/>
            <pc:sldMk cId="3420601596" sldId="315"/>
            <ac:spMk id="25" creationId="{879FCDF8-479F-4330-9579-78460806DFA3}"/>
          </ac:spMkLst>
        </pc:spChg>
      </pc:sldChg>
      <pc:sldChg chg="modSp mod">
        <pc:chgData name="Johanna Marx" userId="f7883e6b-b8f5-49bd-97ed-29afbba9d34b" providerId="ADAL" clId="{1F9A2DFC-0E8E-4EE8-838A-2A40C8EE7081}" dt="2025-01-29T13:28:21.685" v="14" actId="108"/>
        <pc:sldMkLst>
          <pc:docMk/>
          <pc:sldMk cId="1183542163" sldId="339"/>
        </pc:sldMkLst>
        <pc:spChg chg="mod">
          <ac:chgData name="Johanna Marx" userId="f7883e6b-b8f5-49bd-97ed-29afbba9d34b" providerId="ADAL" clId="{1F9A2DFC-0E8E-4EE8-838A-2A40C8EE7081}" dt="2025-01-29T13:28:21.685" v="14" actId="108"/>
          <ac:spMkLst>
            <pc:docMk/>
            <pc:sldMk cId="1183542163" sldId="339"/>
            <ac:spMk id="6" creationId="{0E630E31-56A7-45D2-FE61-A1F165CD464C}"/>
          </ac:spMkLst>
        </pc:spChg>
      </pc:sldChg>
      <pc:sldChg chg="modSp mod">
        <pc:chgData name="Johanna Marx" userId="f7883e6b-b8f5-49bd-97ed-29afbba9d34b" providerId="ADAL" clId="{1F9A2DFC-0E8E-4EE8-838A-2A40C8EE7081}" dt="2025-01-29T13:28:55.851" v="22" actId="108"/>
        <pc:sldMkLst>
          <pc:docMk/>
          <pc:sldMk cId="1871282574" sldId="340"/>
        </pc:sldMkLst>
        <pc:spChg chg="mod">
          <ac:chgData name="Johanna Marx" userId="f7883e6b-b8f5-49bd-97ed-29afbba9d34b" providerId="ADAL" clId="{1F9A2DFC-0E8E-4EE8-838A-2A40C8EE7081}" dt="2025-01-29T13:28:52.185" v="21" actId="108"/>
          <ac:spMkLst>
            <pc:docMk/>
            <pc:sldMk cId="1871282574" sldId="340"/>
            <ac:spMk id="23" creationId="{4DD40015-C150-34DE-4E49-1B3A399F1E9B}"/>
          </ac:spMkLst>
        </pc:spChg>
        <pc:spChg chg="mod">
          <ac:chgData name="Johanna Marx" userId="f7883e6b-b8f5-49bd-97ed-29afbba9d34b" providerId="ADAL" clId="{1F9A2DFC-0E8E-4EE8-838A-2A40C8EE7081}" dt="2025-01-29T13:28:55.851" v="22" actId="108"/>
          <ac:spMkLst>
            <pc:docMk/>
            <pc:sldMk cId="1871282574" sldId="340"/>
            <ac:spMk id="27" creationId="{62BA7CF3-CF82-C780-76A2-0C4374DC7301}"/>
          </ac:spMkLst>
        </pc:spChg>
      </pc:sldChg>
      <pc:sldChg chg="modSp mod">
        <pc:chgData name="Johanna Marx" userId="f7883e6b-b8f5-49bd-97ed-29afbba9d34b" providerId="ADAL" clId="{1F9A2DFC-0E8E-4EE8-838A-2A40C8EE7081}" dt="2025-01-29T13:32:19.463" v="50" actId="108"/>
        <pc:sldMkLst>
          <pc:docMk/>
          <pc:sldMk cId="2740505906" sldId="343"/>
        </pc:sldMkLst>
        <pc:spChg chg="mod">
          <ac:chgData name="Johanna Marx" userId="f7883e6b-b8f5-49bd-97ed-29afbba9d34b" providerId="ADAL" clId="{1F9A2DFC-0E8E-4EE8-838A-2A40C8EE7081}" dt="2025-01-29T13:32:19.463" v="50" actId="108"/>
          <ac:spMkLst>
            <pc:docMk/>
            <pc:sldMk cId="2740505906" sldId="343"/>
            <ac:spMk id="9" creationId="{27720A78-01E1-53C9-0F15-41492E42D573}"/>
          </ac:spMkLst>
        </pc:spChg>
      </pc:sldChg>
      <pc:sldChg chg="modSp mod">
        <pc:chgData name="Johanna Marx" userId="f7883e6b-b8f5-49bd-97ed-29afbba9d34b" providerId="ADAL" clId="{1F9A2DFC-0E8E-4EE8-838A-2A40C8EE7081}" dt="2025-01-29T13:31:54.086" v="49" actId="108"/>
        <pc:sldMkLst>
          <pc:docMk/>
          <pc:sldMk cId="2797522874" sldId="351"/>
        </pc:sldMkLst>
        <pc:spChg chg="mod">
          <ac:chgData name="Johanna Marx" userId="f7883e6b-b8f5-49bd-97ed-29afbba9d34b" providerId="ADAL" clId="{1F9A2DFC-0E8E-4EE8-838A-2A40C8EE7081}" dt="2025-01-29T13:31:52.005" v="48" actId="108"/>
          <ac:spMkLst>
            <pc:docMk/>
            <pc:sldMk cId="2797522874" sldId="351"/>
            <ac:spMk id="22" creationId="{2E18E48E-B549-D9A4-3A5E-819FA7DB0B57}"/>
          </ac:spMkLst>
        </pc:spChg>
        <pc:spChg chg="mod">
          <ac:chgData name="Johanna Marx" userId="f7883e6b-b8f5-49bd-97ed-29afbba9d34b" providerId="ADAL" clId="{1F9A2DFC-0E8E-4EE8-838A-2A40C8EE7081}" dt="2025-01-29T13:31:54.086" v="49" actId="108"/>
          <ac:spMkLst>
            <pc:docMk/>
            <pc:sldMk cId="2797522874" sldId="351"/>
            <ac:spMk id="27" creationId="{D6C252EC-FDC0-D2B9-B09E-3303A561A8E7}"/>
          </ac:spMkLst>
        </pc:spChg>
      </pc:sldChg>
      <pc:sldChg chg="modSp mod">
        <pc:chgData name="Johanna Marx" userId="f7883e6b-b8f5-49bd-97ed-29afbba9d34b" providerId="ADAL" clId="{1F9A2DFC-0E8E-4EE8-838A-2A40C8EE7081}" dt="2025-01-29T13:32:53.367" v="52" actId="108"/>
        <pc:sldMkLst>
          <pc:docMk/>
          <pc:sldMk cId="1051582617" sldId="357"/>
        </pc:sldMkLst>
        <pc:spChg chg="mod">
          <ac:chgData name="Johanna Marx" userId="f7883e6b-b8f5-49bd-97ed-29afbba9d34b" providerId="ADAL" clId="{1F9A2DFC-0E8E-4EE8-838A-2A40C8EE7081}" dt="2025-01-29T13:32:53.367" v="52" actId="108"/>
          <ac:spMkLst>
            <pc:docMk/>
            <pc:sldMk cId="1051582617" sldId="357"/>
            <ac:spMk id="5" creationId="{38281BD9-EAEF-2D5D-E7DD-F3CDD0DFCA87}"/>
          </ac:spMkLst>
        </pc:spChg>
      </pc:sldChg>
      <pc:sldChg chg="modSp mod">
        <pc:chgData name="Johanna Marx" userId="f7883e6b-b8f5-49bd-97ed-29afbba9d34b" providerId="ADAL" clId="{1F9A2DFC-0E8E-4EE8-838A-2A40C8EE7081}" dt="2025-01-29T13:33:02.248" v="53" actId="108"/>
        <pc:sldMkLst>
          <pc:docMk/>
          <pc:sldMk cId="3347662735" sldId="362"/>
        </pc:sldMkLst>
        <pc:spChg chg="mod">
          <ac:chgData name="Johanna Marx" userId="f7883e6b-b8f5-49bd-97ed-29afbba9d34b" providerId="ADAL" clId="{1F9A2DFC-0E8E-4EE8-838A-2A40C8EE7081}" dt="2025-01-29T13:33:02.248" v="53" actId="108"/>
          <ac:spMkLst>
            <pc:docMk/>
            <pc:sldMk cId="3347662735" sldId="362"/>
            <ac:spMk id="3" creationId="{49A78907-FE36-7173-131B-B1FF761B690D}"/>
          </ac:spMkLst>
        </pc:spChg>
      </pc:sldChg>
      <pc:sldChg chg="modSp mod">
        <pc:chgData name="Johanna Marx" userId="f7883e6b-b8f5-49bd-97ed-29afbba9d34b" providerId="ADAL" clId="{1F9A2DFC-0E8E-4EE8-838A-2A40C8EE7081}" dt="2025-01-29T13:33:38.305" v="58" actId="12"/>
        <pc:sldMkLst>
          <pc:docMk/>
          <pc:sldMk cId="4283035542" sldId="364"/>
        </pc:sldMkLst>
        <pc:spChg chg="mod">
          <ac:chgData name="Johanna Marx" userId="f7883e6b-b8f5-49bd-97ed-29afbba9d34b" providerId="ADAL" clId="{1F9A2DFC-0E8E-4EE8-838A-2A40C8EE7081}" dt="2025-01-29T13:33:38.305" v="58" actId="12"/>
          <ac:spMkLst>
            <pc:docMk/>
            <pc:sldMk cId="4283035542" sldId="364"/>
            <ac:spMk id="2" creationId="{964DCE61-04A5-D8AA-6518-1E4663CF6367}"/>
          </ac:spMkLst>
        </pc:spChg>
      </pc:sldChg>
      <pc:sldChg chg="modSp mod">
        <pc:chgData name="Johanna Marx" userId="f7883e6b-b8f5-49bd-97ed-29afbba9d34b" providerId="ADAL" clId="{1F9A2DFC-0E8E-4EE8-838A-2A40C8EE7081}" dt="2025-01-29T13:35:01.537" v="62" actId="108"/>
        <pc:sldMkLst>
          <pc:docMk/>
          <pc:sldMk cId="1662382075" sldId="367"/>
        </pc:sldMkLst>
        <pc:spChg chg="mod">
          <ac:chgData name="Johanna Marx" userId="f7883e6b-b8f5-49bd-97ed-29afbba9d34b" providerId="ADAL" clId="{1F9A2DFC-0E8E-4EE8-838A-2A40C8EE7081}" dt="2025-01-29T13:34:58.460" v="61" actId="108"/>
          <ac:spMkLst>
            <pc:docMk/>
            <pc:sldMk cId="1662382075" sldId="367"/>
            <ac:spMk id="4" creationId="{58A76C2D-86CC-01D7-6734-A679A9E35B4C}"/>
          </ac:spMkLst>
        </pc:spChg>
        <pc:spChg chg="mod">
          <ac:chgData name="Johanna Marx" userId="f7883e6b-b8f5-49bd-97ed-29afbba9d34b" providerId="ADAL" clId="{1F9A2DFC-0E8E-4EE8-838A-2A40C8EE7081}" dt="2025-01-29T13:35:01.537" v="62" actId="108"/>
          <ac:spMkLst>
            <pc:docMk/>
            <pc:sldMk cId="1662382075" sldId="367"/>
            <ac:spMk id="6" creationId="{2D56349C-1812-7699-F1DA-7F93C2C03991}"/>
          </ac:spMkLst>
        </pc:spChg>
      </pc:sldChg>
      <pc:sldChg chg="modSp mod">
        <pc:chgData name="Johanna Marx" userId="f7883e6b-b8f5-49bd-97ed-29afbba9d34b" providerId="ADAL" clId="{1F9A2DFC-0E8E-4EE8-838A-2A40C8EE7081}" dt="2025-01-29T13:30:33.177" v="43" actId="108"/>
        <pc:sldMkLst>
          <pc:docMk/>
          <pc:sldMk cId="2849113408" sldId="375"/>
        </pc:sldMkLst>
        <pc:spChg chg="mod">
          <ac:chgData name="Johanna Marx" userId="f7883e6b-b8f5-49bd-97ed-29afbba9d34b" providerId="ADAL" clId="{1F9A2DFC-0E8E-4EE8-838A-2A40C8EE7081}" dt="2025-01-29T13:30:33.177" v="43" actId="108"/>
          <ac:spMkLst>
            <pc:docMk/>
            <pc:sldMk cId="2849113408" sldId="375"/>
            <ac:spMk id="3" creationId="{A4F61B91-BEA2-EEF3-934F-4EAAB95D55E1}"/>
          </ac:spMkLst>
        </pc:spChg>
        <pc:spChg chg="mod">
          <ac:chgData name="Johanna Marx" userId="f7883e6b-b8f5-49bd-97ed-29afbba9d34b" providerId="ADAL" clId="{1F9A2DFC-0E8E-4EE8-838A-2A40C8EE7081}" dt="2025-01-29T13:30:31.510" v="42" actId="108"/>
          <ac:spMkLst>
            <pc:docMk/>
            <pc:sldMk cId="2849113408" sldId="375"/>
            <ac:spMk id="14" creationId="{019E0820-2CE7-D672-C1E5-2DC1CC9E8DE8}"/>
          </ac:spMkLst>
        </pc:spChg>
        <pc:spChg chg="mod">
          <ac:chgData name="Johanna Marx" userId="f7883e6b-b8f5-49bd-97ed-29afbba9d34b" providerId="ADAL" clId="{1F9A2DFC-0E8E-4EE8-838A-2A40C8EE7081}" dt="2025-01-29T13:30:25.816" v="41" actId="108"/>
          <ac:spMkLst>
            <pc:docMk/>
            <pc:sldMk cId="2849113408" sldId="375"/>
            <ac:spMk id="16" creationId="{BFC5788F-8F84-4630-B281-64026A3C0BAE}"/>
          </ac:spMkLst>
        </pc:spChg>
      </pc:sldChg>
      <pc:sldChg chg="modSp mod">
        <pc:chgData name="Johanna Marx" userId="f7883e6b-b8f5-49bd-97ed-29afbba9d34b" providerId="ADAL" clId="{1F9A2DFC-0E8E-4EE8-838A-2A40C8EE7081}" dt="2025-01-29T13:29:40.602" v="29" actId="108"/>
        <pc:sldMkLst>
          <pc:docMk/>
          <pc:sldMk cId="4270279149" sldId="384"/>
        </pc:sldMkLst>
        <pc:spChg chg="mod">
          <ac:chgData name="Johanna Marx" userId="f7883e6b-b8f5-49bd-97ed-29afbba9d34b" providerId="ADAL" clId="{1F9A2DFC-0E8E-4EE8-838A-2A40C8EE7081}" dt="2025-01-29T13:29:38.464" v="28" actId="108"/>
          <ac:spMkLst>
            <pc:docMk/>
            <pc:sldMk cId="4270279149" sldId="384"/>
            <ac:spMk id="11" creationId="{C5107335-C559-E6D1-CF82-CCF7C8E26BC5}"/>
          </ac:spMkLst>
        </pc:spChg>
        <pc:spChg chg="mod">
          <ac:chgData name="Johanna Marx" userId="f7883e6b-b8f5-49bd-97ed-29afbba9d34b" providerId="ADAL" clId="{1F9A2DFC-0E8E-4EE8-838A-2A40C8EE7081}" dt="2025-01-29T13:29:40.602" v="29" actId="108"/>
          <ac:spMkLst>
            <pc:docMk/>
            <pc:sldMk cId="4270279149" sldId="384"/>
            <ac:spMk id="15" creationId="{F6F31415-EBCA-7E41-930A-183A69247141}"/>
          </ac:spMkLst>
        </pc:spChg>
      </pc:sldChg>
      <pc:sldChg chg="modSp mod">
        <pc:chgData name="Johanna Marx" userId="f7883e6b-b8f5-49bd-97ed-29afbba9d34b" providerId="ADAL" clId="{1F9A2DFC-0E8E-4EE8-838A-2A40C8EE7081}" dt="2025-01-29T13:29:47.036" v="31" actId="108"/>
        <pc:sldMkLst>
          <pc:docMk/>
          <pc:sldMk cId="3575259689" sldId="385"/>
        </pc:sldMkLst>
        <pc:spChg chg="mod">
          <ac:chgData name="Johanna Marx" userId="f7883e6b-b8f5-49bd-97ed-29afbba9d34b" providerId="ADAL" clId="{1F9A2DFC-0E8E-4EE8-838A-2A40C8EE7081}" dt="2025-01-29T13:29:44.272" v="30" actId="108"/>
          <ac:spMkLst>
            <pc:docMk/>
            <pc:sldMk cId="3575259689" sldId="385"/>
            <ac:spMk id="7" creationId="{535D2D51-47DB-76E5-78E4-76F8518B38EF}"/>
          </ac:spMkLst>
        </pc:spChg>
        <pc:spChg chg="mod">
          <ac:chgData name="Johanna Marx" userId="f7883e6b-b8f5-49bd-97ed-29afbba9d34b" providerId="ADAL" clId="{1F9A2DFC-0E8E-4EE8-838A-2A40C8EE7081}" dt="2025-01-29T13:29:47.036" v="31" actId="108"/>
          <ac:spMkLst>
            <pc:docMk/>
            <pc:sldMk cId="3575259689" sldId="385"/>
            <ac:spMk id="11" creationId="{69E63903-30FB-5D87-E329-93A8E4DE9A6A}"/>
          </ac:spMkLst>
        </pc:spChg>
      </pc:sldChg>
    </pc:docChg>
  </pc:docChgLst>
  <pc:docChgLst>
    <pc:chgData name="Aly Barakat" userId="S::aly.barakat@tum.de::59442ab7-ba36-4d6f-8096-0727d85e2b9f" providerId="AD" clId="Web-{0314198D-FF82-1D64-3166-7F7ECD6983F0}"/>
    <pc:docChg chg="mod modSld">
      <pc:chgData name="Aly Barakat" userId="S::aly.barakat@tum.de::59442ab7-ba36-4d6f-8096-0727d85e2b9f" providerId="AD" clId="Web-{0314198D-FF82-1D64-3166-7F7ECD6983F0}" dt="2024-07-15T07:51:22.285" v="34"/>
      <pc:docMkLst>
        <pc:docMk/>
      </pc:docMkLst>
      <pc:sldChg chg="modSp addCm">
        <pc:chgData name="Aly Barakat" userId="S::aly.barakat@tum.de::59442ab7-ba36-4d6f-8096-0727d85e2b9f" providerId="AD" clId="Web-{0314198D-FF82-1D64-3166-7F7ECD6983F0}" dt="2024-07-15T07:51:22.285" v="34"/>
        <pc:sldMkLst>
          <pc:docMk/>
          <pc:sldMk cId="855508414" sldId="301"/>
        </pc:sldMkLst>
        <pc:extLst>
          <p:ext xmlns:p="http://schemas.openxmlformats.org/presentationml/2006/main" uri="{D6D511B9-2390-475A-947B-AFAB55BFBCF1}">
            <pc226:cmChg xmlns:pc226="http://schemas.microsoft.com/office/powerpoint/2022/06/main/command" chg="add">
              <pc226:chgData name="Aly Barakat" userId="S::aly.barakat@tum.de::59442ab7-ba36-4d6f-8096-0727d85e2b9f" providerId="AD" clId="Web-{0314198D-FF82-1D64-3166-7F7ECD6983F0}" dt="2024-07-15T07:51:22.285" v="34"/>
              <pc2:cmMkLst xmlns:pc2="http://schemas.microsoft.com/office/powerpoint/2019/9/main/command">
                <pc:docMk/>
                <pc:sldMk cId="855508414" sldId="301"/>
                <pc2:cmMk id="{D895E22C-1233-4AAA-B714-A0A94C98AB54}"/>
              </pc2:cmMkLst>
            </pc226:cmChg>
          </p:ext>
        </pc:extLst>
      </pc:sldChg>
    </pc:docChg>
  </pc:docChgLst>
  <pc:docChgLst>
    <pc:chgData name="Aly Barakat" userId="S::aly.barakat@tum.de::59442ab7-ba36-4d6f-8096-0727d85e2b9f" providerId="AD" clId="Web-{2150C20B-3722-D8F2-D96B-6968E6DBAB5B}"/>
    <pc:docChg chg="modSld">
      <pc:chgData name="Aly Barakat" userId="S::aly.barakat@tum.de::59442ab7-ba36-4d6f-8096-0727d85e2b9f" providerId="AD" clId="Web-{2150C20B-3722-D8F2-D96B-6968E6DBAB5B}" dt="2024-07-18T10:09:37.660" v="7" actId="20577"/>
      <pc:docMkLst>
        <pc:docMk/>
      </pc:docMkLst>
      <pc:sldChg chg="modSp">
        <pc:chgData name="Aly Barakat" userId="S::aly.barakat@tum.de::59442ab7-ba36-4d6f-8096-0727d85e2b9f" providerId="AD" clId="Web-{2150C20B-3722-D8F2-D96B-6968E6DBAB5B}" dt="2024-07-18T10:09:37.660" v="7" actId="20577"/>
        <pc:sldMkLst>
          <pc:docMk/>
          <pc:sldMk cId="3575259689" sldId="385"/>
        </pc:sldMkLst>
      </pc:sldChg>
    </pc:docChg>
  </pc:docChgLst>
  <pc:docChgLst>
    <pc:chgData name="Antje-Lina Weber" userId="9f4ef15c-448f-435b-bcfd-c1b593e81006" providerId="ADAL" clId="{FE666F35-3DA7-4C7F-ABBD-D5576F6331E5}"/>
    <pc:docChg chg="custSel modSld">
      <pc:chgData name="Antje-Lina Weber" userId="9f4ef15c-448f-435b-bcfd-c1b593e81006" providerId="ADAL" clId="{FE666F35-3DA7-4C7F-ABBD-D5576F6331E5}" dt="2024-07-17T15:30:48.099" v="28" actId="14100"/>
      <pc:docMkLst>
        <pc:docMk/>
      </pc:docMkLst>
      <pc:sldChg chg="addSp delSp modSp mod">
        <pc:chgData name="Antje-Lina Weber" userId="9f4ef15c-448f-435b-bcfd-c1b593e81006" providerId="ADAL" clId="{FE666F35-3DA7-4C7F-ABBD-D5576F6331E5}" dt="2024-07-17T15:30:48.099" v="28" actId="14100"/>
        <pc:sldMkLst>
          <pc:docMk/>
          <pc:sldMk cId="3553033900" sldId="287"/>
        </pc:sldMkLst>
      </pc:sldChg>
    </pc:docChg>
  </pc:docChgLst>
  <pc:docChgLst>
    <pc:chgData name="Bianca Bacci" userId="S::ge72jah@tum.de::83bb2da2-bed4-4ef3-8a15-9eeec0e86db8" providerId="AD" clId="Web-{F1C8789B-5292-431F-9BCB-7DAC0FF1B33A}"/>
    <pc:docChg chg="modSld">
      <pc:chgData name="Bianca Bacci" userId="S::ge72jah@tum.de::83bb2da2-bed4-4ef3-8a15-9eeec0e86db8" providerId="AD" clId="Web-{F1C8789B-5292-431F-9BCB-7DAC0FF1B33A}" dt="2024-06-13T16:14:55.593" v="13" actId="20577"/>
      <pc:docMkLst>
        <pc:docMk/>
      </pc:docMkLst>
      <pc:sldChg chg="modSp">
        <pc:chgData name="Bianca Bacci" userId="S::ge72jah@tum.de::83bb2da2-bed4-4ef3-8a15-9eeec0e86db8" providerId="AD" clId="Web-{F1C8789B-5292-431F-9BCB-7DAC0FF1B33A}" dt="2024-06-13T16:14:55.593" v="13" actId="20577"/>
        <pc:sldMkLst>
          <pc:docMk/>
          <pc:sldMk cId="0" sldId="256"/>
        </pc:sldMkLst>
      </pc:sldChg>
    </pc:docChg>
  </pc:docChgLst>
  <pc:docChgLst>
    <pc:chgData name="Moritz Finn Cordes" userId="204e5feb-1d56-4254-8ae1-e45f8d7d96e7" providerId="ADAL" clId="{09264A83-BF51-4736-B3C3-C3B1D3CA2A09}"/>
    <pc:docChg chg="undo custSel modSld sldOrd">
      <pc:chgData name="Moritz Finn Cordes" userId="204e5feb-1d56-4254-8ae1-e45f8d7d96e7" providerId="ADAL" clId="{09264A83-BF51-4736-B3C3-C3B1D3CA2A09}" dt="2024-07-17T20:32:04.742" v="31" actId="20577"/>
      <pc:docMkLst>
        <pc:docMk/>
      </pc:docMkLst>
      <pc:sldChg chg="modSp mod">
        <pc:chgData name="Moritz Finn Cordes" userId="204e5feb-1d56-4254-8ae1-e45f8d7d96e7" providerId="ADAL" clId="{09264A83-BF51-4736-B3C3-C3B1D3CA2A09}" dt="2024-07-17T20:32:04.742" v="31" actId="20577"/>
        <pc:sldMkLst>
          <pc:docMk/>
          <pc:sldMk cId="3553033900" sldId="287"/>
        </pc:sldMkLst>
      </pc:sldChg>
      <pc:sldChg chg="modSp mod ord">
        <pc:chgData name="Moritz Finn Cordes" userId="204e5feb-1d56-4254-8ae1-e45f8d7d96e7" providerId="ADAL" clId="{09264A83-BF51-4736-B3C3-C3B1D3CA2A09}" dt="2024-07-17T19:47:43.927" v="7" actId="207"/>
        <pc:sldMkLst>
          <pc:docMk/>
          <pc:sldMk cId="1237709550" sldId="374"/>
        </pc:sldMkLst>
      </pc:sldChg>
      <pc:sldChg chg="modSp mod">
        <pc:chgData name="Moritz Finn Cordes" userId="204e5feb-1d56-4254-8ae1-e45f8d7d96e7" providerId="ADAL" clId="{09264A83-BF51-4736-B3C3-C3B1D3CA2A09}" dt="2024-07-17T19:49:09.762" v="11"/>
        <pc:sldMkLst>
          <pc:docMk/>
          <pc:sldMk cId="1028456503" sldId="382"/>
        </pc:sldMkLst>
      </pc:sldChg>
    </pc:docChg>
  </pc:docChgLst>
  <pc:docChgLst>
    <pc:chgData name="Aly Barakat" userId="S::aly.barakat@tum.de::59442ab7-ba36-4d6f-8096-0727d85e2b9f" providerId="AD" clId="Web-{D279E5B3-7C9B-CCF7-5919-11D0D7522E20}"/>
    <pc:docChg chg="modSld">
      <pc:chgData name="Aly Barakat" userId="S::aly.barakat@tum.de::59442ab7-ba36-4d6f-8096-0727d85e2b9f" providerId="AD" clId="Web-{D279E5B3-7C9B-CCF7-5919-11D0D7522E20}" dt="2024-07-18T10:07:14.168" v="82" actId="20577"/>
      <pc:docMkLst>
        <pc:docMk/>
      </pc:docMkLst>
      <pc:sldChg chg="modSp">
        <pc:chgData name="Aly Barakat" userId="S::aly.barakat@tum.de::59442ab7-ba36-4d6f-8096-0727d85e2b9f" providerId="AD" clId="Web-{D279E5B3-7C9B-CCF7-5919-11D0D7522E20}" dt="2024-07-18T10:07:14.168" v="82" actId="20577"/>
        <pc:sldMkLst>
          <pc:docMk/>
          <pc:sldMk cId="4270279149" sldId="384"/>
        </pc:sldMkLst>
      </pc:sldChg>
      <pc:sldChg chg="modSp">
        <pc:chgData name="Aly Barakat" userId="S::aly.barakat@tum.de::59442ab7-ba36-4d6f-8096-0727d85e2b9f" providerId="AD" clId="Web-{D279E5B3-7C9B-CCF7-5919-11D0D7522E20}" dt="2024-07-18T10:04:19.037" v="78" actId="20577"/>
        <pc:sldMkLst>
          <pc:docMk/>
          <pc:sldMk cId="3575259689" sldId="385"/>
        </pc:sldMkLst>
      </pc:sldChg>
    </pc:docChg>
  </pc:docChgLst>
  <pc:docChgLst>
    <pc:chgData name="Bianca Bacci" userId="83bb2da2-bed4-4ef3-8a15-9eeec0e86db8" providerId="ADAL" clId="{5E9C5533-7E7C-4059-827C-10DF17599533}"/>
    <pc:docChg chg="modSld">
      <pc:chgData name="Bianca Bacci" userId="83bb2da2-bed4-4ef3-8a15-9eeec0e86db8" providerId="ADAL" clId="{5E9C5533-7E7C-4059-827C-10DF17599533}" dt="2024-07-17T13:02:53.282" v="22" actId="6549"/>
      <pc:docMkLst>
        <pc:docMk/>
      </pc:docMkLst>
      <pc:sldChg chg="modSp mod">
        <pc:chgData name="Bianca Bacci" userId="83bb2da2-bed4-4ef3-8a15-9eeec0e86db8" providerId="ADAL" clId="{5E9C5533-7E7C-4059-827C-10DF17599533}" dt="2024-07-17T12:58:10.423" v="0" actId="1076"/>
        <pc:sldMkLst>
          <pc:docMk/>
          <pc:sldMk cId="3553033900" sldId="287"/>
        </pc:sldMkLst>
      </pc:sldChg>
      <pc:sldChg chg="modSp mod">
        <pc:chgData name="Bianca Bacci" userId="83bb2da2-bed4-4ef3-8a15-9eeec0e86db8" providerId="ADAL" clId="{5E9C5533-7E7C-4059-827C-10DF17599533}" dt="2024-07-17T13:02:22.620" v="7" actId="20577"/>
        <pc:sldMkLst>
          <pc:docMk/>
          <pc:sldMk cId="3118018366" sldId="291"/>
        </pc:sldMkLst>
      </pc:sldChg>
      <pc:sldChg chg="modSp mod">
        <pc:chgData name="Bianca Bacci" userId="83bb2da2-bed4-4ef3-8a15-9eeec0e86db8" providerId="ADAL" clId="{5E9C5533-7E7C-4059-827C-10DF17599533}" dt="2024-07-17T13:02:35.572" v="11" actId="20577"/>
        <pc:sldMkLst>
          <pc:docMk/>
          <pc:sldMk cId="1360738081" sldId="295"/>
        </pc:sldMkLst>
      </pc:sldChg>
      <pc:sldChg chg="modSp mod">
        <pc:chgData name="Bianca Bacci" userId="83bb2da2-bed4-4ef3-8a15-9eeec0e86db8" providerId="ADAL" clId="{5E9C5533-7E7C-4059-827C-10DF17599533}" dt="2024-07-17T13:02:53.282" v="22" actId="6549"/>
        <pc:sldMkLst>
          <pc:docMk/>
          <pc:sldMk cId="3109028800" sldId="306"/>
        </pc:sldMkLst>
      </pc:sldChg>
    </pc:docChg>
  </pc:docChgLst>
  <pc:docChgLst>
    <pc:chgData name="Lukas Rau" userId="S::lukas.rau@tum.de::a75e0523-20be-4fb9-acc6-1a36dfa716c4" providerId="AD" clId="Web-{1DB73E41-833B-784A-60F6-3761C1635753}"/>
    <pc:docChg chg="modSld">
      <pc:chgData name="Lukas Rau" userId="S::lukas.rau@tum.de::a75e0523-20be-4fb9-acc6-1a36dfa716c4" providerId="AD" clId="Web-{1DB73E41-833B-784A-60F6-3761C1635753}" dt="2024-12-13T10:23:52.554" v="1" actId="1076"/>
      <pc:docMkLst>
        <pc:docMk/>
      </pc:docMkLst>
      <pc:sldChg chg="modSp">
        <pc:chgData name="Lukas Rau" userId="S::lukas.rau@tum.de::a75e0523-20be-4fb9-acc6-1a36dfa716c4" providerId="AD" clId="Web-{1DB73E41-833B-784A-60F6-3761C1635753}" dt="2024-12-13T10:23:52.554" v="1" actId="1076"/>
        <pc:sldMkLst>
          <pc:docMk/>
          <pc:sldMk cId="1601966315" sldId="285"/>
        </pc:sldMkLst>
        <pc:spChg chg="mod">
          <ac:chgData name="Lukas Rau" userId="S::lukas.rau@tum.de::a75e0523-20be-4fb9-acc6-1a36dfa716c4" providerId="AD" clId="Web-{1DB73E41-833B-784A-60F6-3761C1635753}" dt="2024-12-13T10:23:52.554" v="1" actId="1076"/>
          <ac:spMkLst>
            <pc:docMk/>
            <pc:sldMk cId="1601966315" sldId="285"/>
            <ac:spMk id="10" creationId="{4C36CB4A-0A89-8C59-EF84-A4BAD32432B1}"/>
          </ac:spMkLst>
        </pc:spChg>
      </pc:sldChg>
    </pc:docChg>
  </pc:docChgLst>
  <pc:docChgLst>
    <pc:chgData name="Eva Reißner" userId="S::eva.reissner@tum.de::69eeba62-a39b-4c77-8010-7e75a3ee4230" providerId="AD" clId="Web-{0A729CFF-18D7-D968-0DA7-4D59DBF9138B}"/>
    <pc:docChg chg="modSld">
      <pc:chgData name="Eva Reißner" userId="S::eva.reissner@tum.de::69eeba62-a39b-4c77-8010-7e75a3ee4230" providerId="AD" clId="Web-{0A729CFF-18D7-D968-0DA7-4D59DBF9138B}" dt="2024-07-15T14:49:32.734" v="0" actId="20577"/>
      <pc:docMkLst>
        <pc:docMk/>
      </pc:docMkLst>
      <pc:sldChg chg="modSp">
        <pc:chgData name="Eva Reißner" userId="S::eva.reissner@tum.de::69eeba62-a39b-4c77-8010-7e75a3ee4230" providerId="AD" clId="Web-{0A729CFF-18D7-D968-0DA7-4D59DBF9138B}" dt="2024-07-15T14:49:32.734" v="0" actId="20577"/>
        <pc:sldMkLst>
          <pc:docMk/>
          <pc:sldMk cId="1871282574" sldId="340"/>
        </pc:sldMkLst>
      </pc:sldChg>
    </pc:docChg>
  </pc:docChgLst>
  <pc:docChgLst>
    <pc:chgData name="Johanna Marx" userId="f7883e6b-b8f5-49bd-97ed-29afbba9d34b" providerId="ADAL" clId="{BFF0D389-B892-4D7B-A975-B893E75C7785}"/>
    <pc:docChg chg="undo redo custSel addSld delSld modSld sldOrd modMainMaster addSection delSection modSection">
      <pc:chgData name="Johanna Marx" userId="f7883e6b-b8f5-49bd-97ed-29afbba9d34b" providerId="ADAL" clId="{BFF0D389-B892-4D7B-A975-B893E75C7785}" dt="2024-07-17T18:19:55.919" v="24416" actId="47"/>
      <pc:docMkLst>
        <pc:docMk/>
      </pc:docMkLst>
      <pc:sldChg chg="addSp delSp modSp mod ord">
        <pc:chgData name="Johanna Marx" userId="f7883e6b-b8f5-49bd-97ed-29afbba9d34b" providerId="ADAL" clId="{BFF0D389-B892-4D7B-A975-B893E75C7785}" dt="2024-07-15T15:12:22.720" v="14443" actId="1035"/>
        <pc:sldMkLst>
          <pc:docMk/>
          <pc:sldMk cId="0" sldId="256"/>
        </pc:sldMkLst>
      </pc:sldChg>
      <pc:sldChg chg="del">
        <pc:chgData name="Johanna Marx" userId="f7883e6b-b8f5-49bd-97ed-29afbba9d34b" providerId="ADAL" clId="{BFF0D389-B892-4D7B-A975-B893E75C7785}" dt="2024-07-07T12:19:11.936" v="312" actId="47"/>
        <pc:sldMkLst>
          <pc:docMk/>
          <pc:sldMk cId="0" sldId="257"/>
        </pc:sldMkLst>
      </pc:sldChg>
      <pc:sldChg chg="addSp delSp modSp del mod ord modShow">
        <pc:chgData name="Johanna Marx" userId="f7883e6b-b8f5-49bd-97ed-29afbba9d34b" providerId="ADAL" clId="{BFF0D389-B892-4D7B-A975-B893E75C7785}" dt="2024-07-08T08:14:08.834" v="5983" actId="47"/>
        <pc:sldMkLst>
          <pc:docMk/>
          <pc:sldMk cId="0" sldId="258"/>
        </pc:sldMkLst>
      </pc:sldChg>
      <pc:sldChg chg="del ord">
        <pc:chgData name="Johanna Marx" userId="f7883e6b-b8f5-49bd-97ed-29afbba9d34b" providerId="ADAL" clId="{BFF0D389-B892-4D7B-A975-B893E75C7785}" dt="2024-07-07T12:48:17.570" v="1111" actId="47"/>
        <pc:sldMkLst>
          <pc:docMk/>
          <pc:sldMk cId="0" sldId="259"/>
        </pc:sldMkLst>
      </pc:sldChg>
      <pc:sldChg chg="addSp delSp modSp del mod ord modShow">
        <pc:chgData name="Johanna Marx" userId="f7883e6b-b8f5-49bd-97ed-29afbba9d34b" providerId="ADAL" clId="{BFF0D389-B892-4D7B-A975-B893E75C7785}" dt="2024-07-11T10:06:17.022" v="13220" actId="47"/>
        <pc:sldMkLst>
          <pc:docMk/>
          <pc:sldMk cId="0" sldId="260"/>
        </pc:sldMkLst>
      </pc:sldChg>
      <pc:sldChg chg="del mod modShow">
        <pc:chgData name="Johanna Marx" userId="f7883e6b-b8f5-49bd-97ed-29afbba9d34b" providerId="ADAL" clId="{BFF0D389-B892-4D7B-A975-B893E75C7785}" dt="2024-07-11T09:45:14.654" v="12981" actId="47"/>
        <pc:sldMkLst>
          <pc:docMk/>
          <pc:sldMk cId="0" sldId="261"/>
        </pc:sldMkLst>
      </pc:sldChg>
      <pc:sldChg chg="modSp del mod modShow">
        <pc:chgData name="Johanna Marx" userId="f7883e6b-b8f5-49bd-97ed-29afbba9d34b" providerId="ADAL" clId="{BFF0D389-B892-4D7B-A975-B893E75C7785}" dt="2024-07-11T09:45:17.502" v="12982" actId="47"/>
        <pc:sldMkLst>
          <pc:docMk/>
          <pc:sldMk cId="0" sldId="262"/>
        </pc:sldMkLst>
      </pc:sldChg>
      <pc:sldChg chg="del mod modShow">
        <pc:chgData name="Johanna Marx" userId="f7883e6b-b8f5-49bd-97ed-29afbba9d34b" providerId="ADAL" clId="{BFF0D389-B892-4D7B-A975-B893E75C7785}" dt="2024-07-11T09:45:18.928" v="12983" actId="47"/>
        <pc:sldMkLst>
          <pc:docMk/>
          <pc:sldMk cId="0" sldId="263"/>
        </pc:sldMkLst>
      </pc:sldChg>
      <pc:sldChg chg="del mod modShow">
        <pc:chgData name="Johanna Marx" userId="f7883e6b-b8f5-49bd-97ed-29afbba9d34b" providerId="ADAL" clId="{BFF0D389-B892-4D7B-A975-B893E75C7785}" dt="2024-07-11T10:32:13.938" v="13422" actId="47"/>
        <pc:sldMkLst>
          <pc:docMk/>
          <pc:sldMk cId="0" sldId="264"/>
        </pc:sldMkLst>
      </pc:sldChg>
      <pc:sldChg chg="del mod modShow">
        <pc:chgData name="Johanna Marx" userId="f7883e6b-b8f5-49bd-97ed-29afbba9d34b" providerId="ADAL" clId="{BFF0D389-B892-4D7B-A975-B893E75C7785}" dt="2024-07-11T09:45:21.735" v="12984" actId="47"/>
        <pc:sldMkLst>
          <pc:docMk/>
          <pc:sldMk cId="0" sldId="265"/>
        </pc:sldMkLst>
      </pc:sldChg>
      <pc:sldChg chg="del mod modShow">
        <pc:chgData name="Johanna Marx" userId="f7883e6b-b8f5-49bd-97ed-29afbba9d34b" providerId="ADAL" clId="{BFF0D389-B892-4D7B-A975-B893E75C7785}" dt="2024-07-11T10:32:10.611" v="13421" actId="47"/>
        <pc:sldMkLst>
          <pc:docMk/>
          <pc:sldMk cId="0" sldId="266"/>
        </pc:sldMkLst>
      </pc:sldChg>
      <pc:sldChg chg="del mod modShow">
        <pc:chgData name="Johanna Marx" userId="f7883e6b-b8f5-49bd-97ed-29afbba9d34b" providerId="ADAL" clId="{BFF0D389-B892-4D7B-A975-B893E75C7785}" dt="2024-07-11T10:32:06.143" v="13419" actId="47"/>
        <pc:sldMkLst>
          <pc:docMk/>
          <pc:sldMk cId="0" sldId="267"/>
        </pc:sldMkLst>
      </pc:sldChg>
      <pc:sldChg chg="modSp del mod modShow">
        <pc:chgData name="Johanna Marx" userId="f7883e6b-b8f5-49bd-97ed-29afbba9d34b" providerId="ADAL" clId="{BFF0D389-B892-4D7B-A975-B893E75C7785}" dt="2024-07-11T09:45:25.569" v="12985" actId="47"/>
        <pc:sldMkLst>
          <pc:docMk/>
          <pc:sldMk cId="0" sldId="268"/>
        </pc:sldMkLst>
      </pc:sldChg>
      <pc:sldChg chg="del mod modShow">
        <pc:chgData name="Johanna Marx" userId="f7883e6b-b8f5-49bd-97ed-29afbba9d34b" providerId="ADAL" clId="{BFF0D389-B892-4D7B-A975-B893E75C7785}" dt="2024-07-11T10:31:55.273" v="13416" actId="47"/>
        <pc:sldMkLst>
          <pc:docMk/>
          <pc:sldMk cId="0" sldId="269"/>
        </pc:sldMkLst>
      </pc:sldChg>
      <pc:sldChg chg="add del mod modShow">
        <pc:chgData name="Johanna Marx" userId="f7883e6b-b8f5-49bd-97ed-29afbba9d34b" providerId="ADAL" clId="{BFF0D389-B892-4D7B-A975-B893E75C7785}" dt="2024-07-11T09:45:28.241" v="12986" actId="47"/>
        <pc:sldMkLst>
          <pc:docMk/>
          <pc:sldMk cId="0" sldId="270"/>
        </pc:sldMkLst>
      </pc:sldChg>
      <pc:sldChg chg="add del mod modShow">
        <pc:chgData name="Johanna Marx" userId="f7883e6b-b8f5-49bd-97ed-29afbba9d34b" providerId="ADAL" clId="{BFF0D389-B892-4D7B-A975-B893E75C7785}" dt="2024-07-11T09:45:30.248" v="12987" actId="47"/>
        <pc:sldMkLst>
          <pc:docMk/>
          <pc:sldMk cId="0" sldId="271"/>
        </pc:sldMkLst>
      </pc:sldChg>
      <pc:sldChg chg="del mod modShow">
        <pc:chgData name="Johanna Marx" userId="f7883e6b-b8f5-49bd-97ed-29afbba9d34b" providerId="ADAL" clId="{BFF0D389-B892-4D7B-A975-B893E75C7785}" dt="2024-07-07T12:48:36.625" v="1114" actId="47"/>
        <pc:sldMkLst>
          <pc:docMk/>
          <pc:sldMk cId="0" sldId="272"/>
        </pc:sldMkLst>
      </pc:sldChg>
      <pc:sldChg chg="del mod modShow">
        <pc:chgData name="Johanna Marx" userId="f7883e6b-b8f5-49bd-97ed-29afbba9d34b" providerId="ADAL" clId="{BFF0D389-B892-4D7B-A975-B893E75C7785}" dt="2024-07-07T12:48:33.800" v="1113" actId="47"/>
        <pc:sldMkLst>
          <pc:docMk/>
          <pc:sldMk cId="0" sldId="273"/>
        </pc:sldMkLst>
      </pc:sldChg>
      <pc:sldChg chg="del mod modShow">
        <pc:chgData name="Johanna Marx" userId="f7883e6b-b8f5-49bd-97ed-29afbba9d34b" providerId="ADAL" clId="{BFF0D389-B892-4D7B-A975-B893E75C7785}" dt="2024-07-07T12:48:30.733" v="1112" actId="47"/>
        <pc:sldMkLst>
          <pc:docMk/>
          <pc:sldMk cId="0" sldId="274"/>
        </pc:sldMkLst>
      </pc:sldChg>
      <pc:sldChg chg="del mod modShow">
        <pc:chgData name="Johanna Marx" userId="f7883e6b-b8f5-49bd-97ed-29afbba9d34b" providerId="ADAL" clId="{BFF0D389-B892-4D7B-A975-B893E75C7785}" dt="2024-07-11T10:32:01.240" v="13417" actId="47"/>
        <pc:sldMkLst>
          <pc:docMk/>
          <pc:sldMk cId="0" sldId="275"/>
        </pc:sldMkLst>
      </pc:sldChg>
      <pc:sldChg chg="del mod modShow">
        <pc:chgData name="Johanna Marx" userId="f7883e6b-b8f5-49bd-97ed-29afbba9d34b" providerId="ADAL" clId="{BFF0D389-B892-4D7B-A975-B893E75C7785}" dt="2024-07-11T10:32:08.424" v="13420" actId="47"/>
        <pc:sldMkLst>
          <pc:docMk/>
          <pc:sldMk cId="0" sldId="276"/>
        </pc:sldMkLst>
      </pc:sldChg>
      <pc:sldChg chg="del mod modShow">
        <pc:chgData name="Johanna Marx" userId="f7883e6b-b8f5-49bd-97ed-29afbba9d34b" providerId="ADAL" clId="{BFF0D389-B892-4D7B-A975-B893E75C7785}" dt="2024-07-11T10:32:03.995" v="13418" actId="47"/>
        <pc:sldMkLst>
          <pc:docMk/>
          <pc:sldMk cId="0" sldId="277"/>
        </pc:sldMkLst>
      </pc:sldChg>
      <pc:sldChg chg="del mod modShow">
        <pc:chgData name="Johanna Marx" userId="f7883e6b-b8f5-49bd-97ed-29afbba9d34b" providerId="ADAL" clId="{BFF0D389-B892-4D7B-A975-B893E75C7785}" dt="2024-07-11T09:45:36.874" v="12988" actId="47"/>
        <pc:sldMkLst>
          <pc:docMk/>
          <pc:sldMk cId="0" sldId="278"/>
        </pc:sldMkLst>
      </pc:sldChg>
      <pc:sldChg chg="del">
        <pc:chgData name="Johanna Marx" userId="f7883e6b-b8f5-49bd-97ed-29afbba9d34b" providerId="ADAL" clId="{BFF0D389-B892-4D7B-A975-B893E75C7785}" dt="2024-07-07T12:20:01.509" v="313" actId="47"/>
        <pc:sldMkLst>
          <pc:docMk/>
          <pc:sldMk cId="0" sldId="279"/>
        </pc:sldMkLst>
      </pc:sldChg>
      <pc:sldChg chg="addSp delSp modSp new del mod ord">
        <pc:chgData name="Johanna Marx" userId="f7883e6b-b8f5-49bd-97ed-29afbba9d34b" providerId="ADAL" clId="{BFF0D389-B892-4D7B-A975-B893E75C7785}" dt="2024-07-07T12:50:19.449" v="1291" actId="47"/>
        <pc:sldMkLst>
          <pc:docMk/>
          <pc:sldMk cId="3205643255" sldId="279"/>
        </pc:sldMkLst>
      </pc:sldChg>
      <pc:sldChg chg="delSp add del mod">
        <pc:chgData name="Johanna Marx" userId="f7883e6b-b8f5-49bd-97ed-29afbba9d34b" providerId="ADAL" clId="{BFF0D389-B892-4D7B-A975-B893E75C7785}" dt="2024-07-07T12:50:23.436" v="1292" actId="47"/>
        <pc:sldMkLst>
          <pc:docMk/>
          <pc:sldMk cId="4285054278" sldId="280"/>
        </pc:sldMkLst>
      </pc:sldChg>
      <pc:sldChg chg="new del">
        <pc:chgData name="Johanna Marx" userId="f7883e6b-b8f5-49bd-97ed-29afbba9d34b" providerId="ADAL" clId="{BFF0D389-B892-4D7B-A975-B893E75C7785}" dt="2024-07-07T12:44:48.512" v="975" actId="47"/>
        <pc:sldMkLst>
          <pc:docMk/>
          <pc:sldMk cId="55685880" sldId="281"/>
        </pc:sldMkLst>
      </pc:sldChg>
      <pc:sldChg chg="new del">
        <pc:chgData name="Johanna Marx" userId="f7883e6b-b8f5-49bd-97ed-29afbba9d34b" providerId="ADAL" clId="{BFF0D389-B892-4D7B-A975-B893E75C7785}" dt="2024-07-07T12:48:10.973" v="1110" actId="47"/>
        <pc:sldMkLst>
          <pc:docMk/>
          <pc:sldMk cId="328155447" sldId="281"/>
        </pc:sldMkLst>
      </pc:sldChg>
      <pc:sldChg chg="addSp delSp modSp del mod addCm delCm">
        <pc:chgData name="Johanna Marx" userId="f7883e6b-b8f5-49bd-97ed-29afbba9d34b" providerId="ADAL" clId="{BFF0D389-B892-4D7B-A975-B893E75C7785}" dt="2024-07-17T16:02:23.584" v="21341"/>
        <pc:sldMkLst>
          <pc:docMk/>
          <pc:sldMk cId="2457093950" sldId="281"/>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17T16:02:23.584" v="21341"/>
              <pc2:cmMkLst xmlns:pc2="http://schemas.microsoft.com/office/powerpoint/2019/9/main/command">
                <pc:docMk/>
                <pc:sldMk cId="2457093950" sldId="281"/>
                <pc2:cmMk id="{97DFDA25-9060-482A-8369-BDAE27D666FF}"/>
              </pc2:cmMkLst>
            </pc226:cmChg>
          </p:ext>
        </pc:extLst>
      </pc:sldChg>
      <pc:sldChg chg="addSp delSp modSp add del mod">
        <pc:chgData name="Johanna Marx" userId="f7883e6b-b8f5-49bd-97ed-29afbba9d34b" providerId="ADAL" clId="{BFF0D389-B892-4D7B-A975-B893E75C7785}" dt="2024-07-07T12:53:48.680" v="1483" actId="47"/>
        <pc:sldMkLst>
          <pc:docMk/>
          <pc:sldMk cId="3971420670" sldId="282"/>
        </pc:sldMkLst>
      </pc:sldChg>
      <pc:sldChg chg="addSp delSp modSp new del mod ord">
        <pc:chgData name="Johanna Marx" userId="f7883e6b-b8f5-49bd-97ed-29afbba9d34b" providerId="ADAL" clId="{BFF0D389-B892-4D7B-A975-B893E75C7785}" dt="2024-07-08T18:51:24.484" v="7371" actId="47"/>
        <pc:sldMkLst>
          <pc:docMk/>
          <pc:sldMk cId="1623145960" sldId="283"/>
        </pc:sldMkLst>
      </pc:sldChg>
      <pc:sldChg chg="del">
        <pc:chgData name="Johanna Marx" userId="f7883e6b-b8f5-49bd-97ed-29afbba9d34b" providerId="ADAL" clId="{BFF0D389-B892-4D7B-A975-B893E75C7785}" dt="2024-07-07T12:20:01.509" v="313" actId="47"/>
        <pc:sldMkLst>
          <pc:docMk/>
          <pc:sldMk cId="0" sldId="284"/>
        </pc:sldMkLst>
      </pc:sldChg>
      <pc:sldChg chg="addSp delSp modSp new del mod">
        <pc:chgData name="Johanna Marx" userId="f7883e6b-b8f5-49bd-97ed-29afbba9d34b" providerId="ADAL" clId="{BFF0D389-B892-4D7B-A975-B893E75C7785}" dt="2024-07-07T13:14:01.784" v="1865" actId="47"/>
        <pc:sldMkLst>
          <pc:docMk/>
          <pc:sldMk cId="3679467316" sldId="284"/>
        </pc:sldMkLst>
      </pc:sldChg>
      <pc:sldChg chg="addSp delSp modSp new mod delCm modCm">
        <pc:chgData name="Johanna Marx" userId="f7883e6b-b8f5-49bd-97ed-29afbba9d34b" providerId="ADAL" clId="{BFF0D389-B892-4D7B-A975-B893E75C7785}" dt="2024-07-17T17:18:38.153" v="22997" actId="108"/>
        <pc:sldMkLst>
          <pc:docMk/>
          <pc:sldMk cId="1601966315" sldId="285"/>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08T18:24:20.823" v="7335"/>
              <pc2:cmMkLst xmlns:pc2="http://schemas.microsoft.com/office/powerpoint/2019/9/main/command">
                <pc:docMk/>
                <pc:sldMk cId="1601966315" sldId="285"/>
                <pc2:cmMk id="{0120485A-05F1-4FFF-A5E7-8BEBA526BE98}"/>
              </pc2:cmMkLst>
            </pc226:cmChg>
            <pc226:cmChg xmlns:pc226="http://schemas.microsoft.com/office/powerpoint/2022/06/main/command" chg="add del">
              <pc226:chgData name="Johanna Marx" userId="f7883e6b-b8f5-49bd-97ed-29afbba9d34b" providerId="ADAL" clId="{BFF0D389-B892-4D7B-A975-B893E75C7785}" dt="2024-07-10T13:12:29.628" v="7506"/>
              <pc2:cmMkLst xmlns:pc2="http://schemas.microsoft.com/office/powerpoint/2019/9/main/command">
                <pc:docMk/>
                <pc:sldMk cId="1601966315" sldId="285"/>
                <pc2:cmMk id="{AB9580BB-93F0-4EEA-890A-EF7E949E0467}"/>
              </pc2:cmMkLst>
            </pc226:cmChg>
            <pc226:cmChg xmlns:pc226="http://schemas.microsoft.com/office/powerpoint/2022/06/main/command" chg="add del mod">
              <pc226:chgData name="Johanna Marx" userId="f7883e6b-b8f5-49bd-97ed-29afbba9d34b" providerId="ADAL" clId="{BFF0D389-B892-4D7B-A975-B893E75C7785}" dt="2024-07-10T13:12:37.894" v="7508"/>
              <pc2:cmMkLst xmlns:pc2="http://schemas.microsoft.com/office/powerpoint/2019/9/main/command">
                <pc:docMk/>
                <pc:sldMk cId="1601966315" sldId="285"/>
                <pc2:cmMk id="{79A287CA-1087-4174-A22A-8F1F6D071488}"/>
              </pc2:cmMkLst>
            </pc226:cmChg>
          </p:ext>
        </pc:extLst>
      </pc:sldChg>
      <pc:sldChg chg="modSp new del mod">
        <pc:chgData name="Johanna Marx" userId="f7883e6b-b8f5-49bd-97ed-29afbba9d34b" providerId="ADAL" clId="{BFF0D389-B892-4D7B-A975-B893E75C7785}" dt="2024-07-07T13:15:04.442" v="1878" actId="47"/>
        <pc:sldMkLst>
          <pc:docMk/>
          <pc:sldMk cId="2913117896" sldId="286"/>
        </pc:sldMkLst>
      </pc:sldChg>
      <pc:sldChg chg="addSp delSp modSp del mod">
        <pc:chgData name="Johanna Marx" userId="f7883e6b-b8f5-49bd-97ed-29afbba9d34b" providerId="ADAL" clId="{BFF0D389-B892-4D7B-A975-B893E75C7785}" dt="2024-07-17T16:30:31.483" v="21779" actId="1036"/>
        <pc:sldMkLst>
          <pc:docMk/>
          <pc:sldMk cId="3573279774" sldId="286"/>
        </pc:sldMkLst>
      </pc:sldChg>
      <pc:sldChg chg="addSp delSp modSp add del mod ord addCm delCm">
        <pc:chgData name="Johanna Marx" userId="f7883e6b-b8f5-49bd-97ed-29afbba9d34b" providerId="ADAL" clId="{BFF0D389-B892-4D7B-A975-B893E75C7785}" dt="2024-07-17T17:18:43.626" v="22998" actId="108"/>
        <pc:sldMkLst>
          <pc:docMk/>
          <pc:sldMk cId="3553033900" sldId="287"/>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08T18:36:48.614" v="7336"/>
              <pc2:cmMkLst xmlns:pc2="http://schemas.microsoft.com/office/powerpoint/2019/9/main/command">
                <pc:docMk/>
                <pc:sldMk cId="3553033900" sldId="287"/>
                <pc2:cmMk id="{4DB08BC4-C17A-482F-B716-E7A64054768B}"/>
              </pc2:cmMkLst>
            </pc226:cmChg>
          </p:ext>
        </pc:extLst>
      </pc:sldChg>
      <pc:sldChg chg="addSp delSp modSp del mod">
        <pc:chgData name="Johanna Marx" userId="f7883e6b-b8f5-49bd-97ed-29afbba9d34b" providerId="ADAL" clId="{BFF0D389-B892-4D7B-A975-B893E75C7785}" dt="2024-07-16T19:12:47.458" v="18444" actId="20577"/>
        <pc:sldMkLst>
          <pc:docMk/>
          <pc:sldMk cId="3419489590" sldId="288"/>
        </pc:sldMkLst>
      </pc:sldChg>
      <pc:sldChg chg="addSp delSp modSp new mod ord delCm">
        <pc:chgData name="Johanna Marx" userId="f7883e6b-b8f5-49bd-97ed-29afbba9d34b" providerId="ADAL" clId="{BFF0D389-B892-4D7B-A975-B893E75C7785}" dt="2024-07-17T17:18:49.009" v="22999" actId="108"/>
        <pc:sldMkLst>
          <pc:docMk/>
          <pc:sldMk cId="3909716140" sldId="289"/>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08T18:41:54.695" v="7337"/>
              <pc2:cmMkLst xmlns:pc2="http://schemas.microsoft.com/office/powerpoint/2019/9/main/command">
                <pc:docMk/>
                <pc:sldMk cId="3909716140" sldId="289"/>
                <pc2:cmMk id="{E9B70EC7-8704-4D60-87F6-3917E5A6023F}"/>
              </pc2:cmMkLst>
            </pc226:cmChg>
          </p:ext>
        </pc:extLst>
      </pc:sldChg>
      <pc:sldChg chg="addSp delSp modSp del mod">
        <pc:chgData name="Johanna Marx" userId="f7883e6b-b8f5-49bd-97ed-29afbba9d34b" providerId="ADAL" clId="{BFF0D389-B892-4D7B-A975-B893E75C7785}" dt="2024-07-17T16:33:28.790" v="21963" actId="1076"/>
        <pc:sldMkLst>
          <pc:docMk/>
          <pc:sldMk cId="1836807439" sldId="290"/>
        </pc:sldMkLst>
      </pc:sldChg>
      <pc:sldChg chg="addSp delSp modSp new mod">
        <pc:chgData name="Johanna Marx" userId="f7883e6b-b8f5-49bd-97ed-29afbba9d34b" providerId="ADAL" clId="{BFF0D389-B892-4D7B-A975-B893E75C7785}" dt="2024-07-17T17:54:11.493" v="24034" actId="1076"/>
        <pc:sldMkLst>
          <pc:docMk/>
          <pc:sldMk cId="3118018366" sldId="291"/>
        </pc:sldMkLst>
      </pc:sldChg>
      <pc:sldChg chg="addSp delSp modSp new mod">
        <pc:chgData name="Johanna Marx" userId="f7883e6b-b8f5-49bd-97ed-29afbba9d34b" providerId="ADAL" clId="{BFF0D389-B892-4D7B-A975-B893E75C7785}" dt="2024-07-10T15:53:11.943" v="9652" actId="20577"/>
        <pc:sldMkLst>
          <pc:docMk/>
          <pc:sldMk cId="3807836379" sldId="292"/>
        </pc:sldMkLst>
      </pc:sldChg>
      <pc:sldChg chg="delSp modSp del mod">
        <pc:chgData name="Johanna Marx" userId="f7883e6b-b8f5-49bd-97ed-29afbba9d34b" providerId="ADAL" clId="{BFF0D389-B892-4D7B-A975-B893E75C7785}" dt="2024-07-10T15:43:04.974" v="9377" actId="47"/>
        <pc:sldMkLst>
          <pc:docMk/>
          <pc:sldMk cId="2861125733" sldId="293"/>
        </pc:sldMkLst>
      </pc:sldChg>
      <pc:sldChg chg="addSp delSp modSp del mod">
        <pc:chgData name="Johanna Marx" userId="f7883e6b-b8f5-49bd-97ed-29afbba9d34b" providerId="ADAL" clId="{BFF0D389-B892-4D7B-A975-B893E75C7785}" dt="2024-07-10T15:42:11.758" v="9371" actId="20577"/>
        <pc:sldMkLst>
          <pc:docMk/>
          <pc:sldMk cId="3642159981" sldId="294"/>
        </pc:sldMkLst>
      </pc:sldChg>
      <pc:sldChg chg="addSp delSp modSp del mod addCm delCm">
        <pc:chgData name="Johanna Marx" userId="f7883e6b-b8f5-49bd-97ed-29afbba9d34b" providerId="ADAL" clId="{BFF0D389-B892-4D7B-A975-B893E75C7785}" dt="2024-07-17T17:19:02.029" v="23004" actId="108"/>
        <pc:sldMkLst>
          <pc:docMk/>
          <pc:sldMk cId="1360738081" sldId="295"/>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08T18:53:18.008" v="7372"/>
              <pc2:cmMkLst xmlns:pc2="http://schemas.microsoft.com/office/powerpoint/2019/9/main/command">
                <pc:docMk/>
                <pc:sldMk cId="1360738081" sldId="295"/>
                <pc2:cmMk id="{23FBD64D-1C7F-4EAB-8B54-B81B4FC3C256}"/>
              </pc2:cmMkLst>
            </pc226:cmChg>
            <pc226:cmChg xmlns:pc226="http://schemas.microsoft.com/office/powerpoint/2022/06/main/command" chg="add del">
              <pc226:chgData name="Johanna Marx" userId="f7883e6b-b8f5-49bd-97ed-29afbba9d34b" providerId="ADAL" clId="{BFF0D389-B892-4D7B-A975-B893E75C7785}" dt="2024-07-08T18:55:12.893" v="7373"/>
              <pc2:cmMkLst xmlns:pc2="http://schemas.microsoft.com/office/powerpoint/2019/9/main/command">
                <pc:docMk/>
                <pc:sldMk cId="1360738081" sldId="295"/>
                <pc2:cmMk id="{D7F01276-A537-4EAF-B5FE-306923B7D88B}"/>
              </pc2:cmMkLst>
            </pc226:cmChg>
          </p:ext>
        </pc:extLst>
      </pc:sldChg>
      <pc:sldChg chg="del">
        <pc:chgData name="Johanna Marx" userId="f7883e6b-b8f5-49bd-97ed-29afbba9d34b" providerId="ADAL" clId="{BFF0D389-B892-4D7B-A975-B893E75C7785}" dt="2024-07-08T09:31:18.972" v="6912" actId="47"/>
        <pc:sldMkLst>
          <pc:docMk/>
          <pc:sldMk cId="2387900259" sldId="296"/>
        </pc:sldMkLst>
      </pc:sldChg>
      <pc:sldChg chg="addSp delSp modSp new mod">
        <pc:chgData name="Johanna Marx" userId="f7883e6b-b8f5-49bd-97ed-29afbba9d34b" providerId="ADAL" clId="{BFF0D389-B892-4D7B-A975-B893E75C7785}" dt="2024-07-11T08:13:26.907" v="11428" actId="14100"/>
        <pc:sldMkLst>
          <pc:docMk/>
          <pc:sldMk cId="1997358788" sldId="297"/>
        </pc:sldMkLst>
      </pc:sldChg>
      <pc:sldChg chg="addSp delSp modSp new mod">
        <pc:chgData name="Johanna Marx" userId="f7883e6b-b8f5-49bd-97ed-29afbba9d34b" providerId="ADAL" clId="{BFF0D389-B892-4D7B-A975-B893E75C7785}" dt="2024-07-17T06:41:48.695" v="19364" actId="1036"/>
        <pc:sldMkLst>
          <pc:docMk/>
          <pc:sldMk cId="2451751709" sldId="298"/>
        </pc:sldMkLst>
      </pc:sldChg>
      <pc:sldChg chg="addSp delSp modSp new mod">
        <pc:chgData name="Johanna Marx" userId="f7883e6b-b8f5-49bd-97ed-29afbba9d34b" providerId="ADAL" clId="{BFF0D389-B892-4D7B-A975-B893E75C7785}" dt="2024-07-17T17:19:36.074" v="23009" actId="108"/>
        <pc:sldMkLst>
          <pc:docMk/>
          <pc:sldMk cId="3394550179" sldId="299"/>
        </pc:sldMkLst>
      </pc:sldChg>
      <pc:sldChg chg="addSp delSp modSp new mod">
        <pc:chgData name="Johanna Marx" userId="f7883e6b-b8f5-49bd-97ed-29afbba9d34b" providerId="ADAL" clId="{BFF0D389-B892-4D7B-A975-B893E75C7785}" dt="2024-07-17T17:20:08.849" v="23012" actId="478"/>
        <pc:sldMkLst>
          <pc:docMk/>
          <pc:sldMk cId="3143837598" sldId="300"/>
        </pc:sldMkLst>
      </pc:sldChg>
      <pc:sldChg chg="addSp delSp modSp add mod addCm delCm modCm">
        <pc:chgData name="Johanna Marx" userId="f7883e6b-b8f5-49bd-97ed-29afbba9d34b" providerId="ADAL" clId="{BFF0D389-B892-4D7B-A975-B893E75C7785}" dt="2024-07-17T17:24:41.027" v="23172" actId="20577"/>
        <pc:sldMkLst>
          <pc:docMk/>
          <pc:sldMk cId="855508414" sldId="301"/>
        </pc:sldMkLst>
        <pc:extLst>
          <p:ext xmlns:p="http://schemas.openxmlformats.org/presentationml/2006/main" uri="{D6D511B9-2390-475A-947B-AFAB55BFBCF1}">
            <pc226:cmChg xmlns:pc226="http://schemas.microsoft.com/office/powerpoint/2022/06/main/command" chg="del mod">
              <pc226:chgData name="Johanna Marx" userId="f7883e6b-b8f5-49bd-97ed-29afbba9d34b" providerId="ADAL" clId="{BFF0D389-B892-4D7B-A975-B893E75C7785}" dt="2024-07-17T07:25:31.131" v="20376"/>
              <pc2:cmMkLst xmlns:pc2="http://schemas.microsoft.com/office/powerpoint/2019/9/main/command">
                <pc:docMk/>
                <pc:sldMk cId="855508414" sldId="301"/>
                <pc2:cmMk id="{D895E22C-1233-4AAA-B714-A0A94C98AB54}"/>
              </pc2:cmMkLst>
              <pc226:cmRplyChg chg="add">
                <pc226:chgData name="Johanna Marx" userId="f7883e6b-b8f5-49bd-97ed-29afbba9d34b" providerId="ADAL" clId="{BFF0D389-B892-4D7B-A975-B893E75C7785}" dt="2024-07-15T14:01:21.591" v="13702"/>
                <pc2:cmRplyMkLst xmlns:pc2="http://schemas.microsoft.com/office/powerpoint/2019/9/main/command">
                  <pc:docMk/>
                  <pc:sldMk cId="855508414" sldId="301"/>
                  <pc2:cmMk id="{D895E22C-1233-4AAA-B714-A0A94C98AB54}"/>
                  <pc2:cmRplyMk id="{1E717F5B-63A9-4E90-927F-1D9CA930B3EB}"/>
                </pc2:cmRplyMkLst>
              </pc226:cmRplyChg>
            </pc226:cmChg>
            <pc226:cmChg xmlns:pc226="http://schemas.microsoft.com/office/powerpoint/2022/06/main/command" chg="add del mod">
              <pc226:chgData name="Johanna Marx" userId="f7883e6b-b8f5-49bd-97ed-29afbba9d34b" providerId="ADAL" clId="{BFF0D389-B892-4D7B-A975-B893E75C7785}" dt="2024-07-08T09:09:17.558" v="6739"/>
              <pc2:cmMkLst xmlns:pc2="http://schemas.microsoft.com/office/powerpoint/2019/9/main/command">
                <pc:docMk/>
                <pc:sldMk cId="855508414" sldId="301"/>
                <pc2:cmMk id="{531A2760-E4ED-4A08-B1D7-76EBAF010E0D}"/>
              </pc2:cmMkLst>
            </pc226:cmChg>
          </p:ext>
        </pc:extLst>
      </pc:sldChg>
      <pc:sldChg chg="addSp delSp modSp new del mod">
        <pc:chgData name="Johanna Marx" userId="f7883e6b-b8f5-49bd-97ed-29afbba9d34b" providerId="ADAL" clId="{BFF0D389-B892-4D7B-A975-B893E75C7785}" dt="2024-07-08T08:17:10.101" v="5994" actId="47"/>
        <pc:sldMkLst>
          <pc:docMk/>
          <pc:sldMk cId="2139969359" sldId="302"/>
        </pc:sldMkLst>
      </pc:sldChg>
      <pc:sldChg chg="addSp delSp modSp new mod ord addCm delCm modCm">
        <pc:chgData name="Johanna Marx" userId="f7883e6b-b8f5-49bd-97ed-29afbba9d34b" providerId="ADAL" clId="{BFF0D389-B892-4D7B-A975-B893E75C7785}" dt="2024-07-17T15:20:10.621" v="20485"/>
        <pc:sldMkLst>
          <pc:docMk/>
          <pc:sldMk cId="2738800295" sldId="302"/>
        </pc:sldMkLst>
        <pc:extLst>
          <p:ext xmlns:p="http://schemas.openxmlformats.org/presentationml/2006/main" uri="{D6D511B9-2390-475A-947B-AFAB55BFBCF1}">
            <pc226:cmChg xmlns:pc226="http://schemas.microsoft.com/office/powerpoint/2022/06/main/command" chg="add del mod">
              <pc226:chgData name="Johanna Marx" userId="f7883e6b-b8f5-49bd-97ed-29afbba9d34b" providerId="ADAL" clId="{BFF0D389-B892-4D7B-A975-B893E75C7785}" dt="2024-07-17T15:20:10.621" v="20485"/>
              <pc2:cmMkLst xmlns:pc2="http://schemas.microsoft.com/office/powerpoint/2019/9/main/command">
                <pc:docMk/>
                <pc:sldMk cId="2738800295" sldId="302"/>
                <pc2:cmMk id="{8F6F4D84-5923-44C9-BEF9-B8B2C15A256A}"/>
              </pc2:cmMkLst>
            </pc226:cmChg>
          </p:ext>
        </pc:extLst>
      </pc:sldChg>
      <pc:sldChg chg="modSp add mod">
        <pc:chgData name="Johanna Marx" userId="f7883e6b-b8f5-49bd-97ed-29afbba9d34b" providerId="ADAL" clId="{BFF0D389-B892-4D7B-A975-B893E75C7785}" dt="2024-07-08T08:36:49.626" v="6323" actId="20577"/>
        <pc:sldMkLst>
          <pc:docMk/>
          <pc:sldMk cId="1608053785" sldId="303"/>
        </pc:sldMkLst>
      </pc:sldChg>
      <pc:sldChg chg="addSp delSp modSp new mod addCm delCm modCm">
        <pc:chgData name="Johanna Marx" userId="f7883e6b-b8f5-49bd-97ed-29afbba9d34b" providerId="ADAL" clId="{BFF0D389-B892-4D7B-A975-B893E75C7785}" dt="2024-07-17T06:28:52.179" v="18879" actId="1076"/>
        <pc:sldMkLst>
          <pc:docMk/>
          <pc:sldMk cId="2977954321" sldId="304"/>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17T06:28:30.484" v="18876"/>
              <pc2:cmMkLst xmlns:pc2="http://schemas.microsoft.com/office/powerpoint/2019/9/main/command">
                <pc:docMk/>
                <pc:sldMk cId="2977954321" sldId="304"/>
                <pc2:cmMk id="{D15B8A63-FE04-4F9B-9037-1BC63A35040A}"/>
              </pc2:cmMkLst>
            </pc226:cmChg>
            <pc226:cmChg xmlns:pc226="http://schemas.microsoft.com/office/powerpoint/2022/06/main/command" chg="add del mod">
              <pc226:chgData name="Johanna Marx" userId="f7883e6b-b8f5-49bd-97ed-29afbba9d34b" providerId="ADAL" clId="{BFF0D389-B892-4D7B-A975-B893E75C7785}" dt="2024-07-17T06:28:28.703" v="18875"/>
              <pc2:cmMkLst xmlns:pc2="http://schemas.microsoft.com/office/powerpoint/2019/9/main/command">
                <pc:docMk/>
                <pc:sldMk cId="2977954321" sldId="304"/>
                <pc2:cmMk id="{62F6486F-00F4-4909-B2AC-816A058E57BD}"/>
              </pc2:cmMkLst>
            </pc226:cmChg>
          </p:ext>
        </pc:extLst>
      </pc:sldChg>
      <pc:sldChg chg="addSp delSp modSp new mod">
        <pc:chgData name="Johanna Marx" userId="f7883e6b-b8f5-49bd-97ed-29afbba9d34b" providerId="ADAL" clId="{BFF0D389-B892-4D7B-A975-B893E75C7785}" dt="2024-07-17T16:34:41.647" v="21974" actId="1076"/>
        <pc:sldMkLst>
          <pc:docMk/>
          <pc:sldMk cId="1340192637" sldId="305"/>
        </pc:sldMkLst>
      </pc:sldChg>
      <pc:sldChg chg="add del">
        <pc:chgData name="Johanna Marx" userId="f7883e6b-b8f5-49bd-97ed-29afbba9d34b" providerId="ADAL" clId="{BFF0D389-B892-4D7B-A975-B893E75C7785}" dt="2024-07-08T09:15:28.883" v="6806" actId="47"/>
        <pc:sldMkLst>
          <pc:docMk/>
          <pc:sldMk cId="1924327235" sldId="306"/>
        </pc:sldMkLst>
      </pc:sldChg>
      <pc:sldChg chg="addSp delSp modSp new mod addCm delCm modCm">
        <pc:chgData name="Johanna Marx" userId="f7883e6b-b8f5-49bd-97ed-29afbba9d34b" providerId="ADAL" clId="{BFF0D389-B892-4D7B-A975-B893E75C7785}" dt="2024-07-17T17:19:06.152" v="23005" actId="108"/>
        <pc:sldMkLst>
          <pc:docMk/>
          <pc:sldMk cId="3109028800" sldId="306"/>
        </pc:sldMkLst>
        <pc:extLst>
          <p:ext xmlns:p="http://schemas.openxmlformats.org/presentationml/2006/main" uri="{D6D511B9-2390-475A-947B-AFAB55BFBCF1}">
            <pc226:cmChg xmlns:pc226="http://schemas.microsoft.com/office/powerpoint/2022/06/main/command" chg="add del mod">
              <pc226:chgData name="Johanna Marx" userId="f7883e6b-b8f5-49bd-97ed-29afbba9d34b" providerId="ADAL" clId="{BFF0D389-B892-4D7B-A975-B893E75C7785}" dt="2024-07-08T18:55:58.243" v="7375"/>
              <pc2:cmMkLst xmlns:pc2="http://schemas.microsoft.com/office/powerpoint/2019/9/main/command">
                <pc:docMk/>
                <pc:sldMk cId="3109028800" sldId="306"/>
                <pc2:cmMk id="{42A02495-6A11-4A64-A7E2-B416C8C49DD0}"/>
              </pc2:cmMkLst>
            </pc226:cmChg>
          </p:ext>
        </pc:extLst>
      </pc:sldChg>
      <pc:sldChg chg="addSp delSp modSp new mod ord">
        <pc:chgData name="Johanna Marx" userId="f7883e6b-b8f5-49bd-97ed-29afbba9d34b" providerId="ADAL" clId="{BFF0D389-B892-4D7B-A975-B893E75C7785}" dt="2024-07-15T14:17:08.252" v="14109" actId="114"/>
        <pc:sldMkLst>
          <pc:docMk/>
          <pc:sldMk cId="656948936" sldId="307"/>
        </pc:sldMkLst>
      </pc:sldChg>
      <pc:sldChg chg="addSp delSp modSp new mod">
        <pc:chgData name="Johanna Marx" userId="f7883e6b-b8f5-49bd-97ed-29afbba9d34b" providerId="ADAL" clId="{BFF0D389-B892-4D7B-A975-B893E75C7785}" dt="2024-07-17T16:38:08.475" v="22224" actId="1038"/>
        <pc:sldMkLst>
          <pc:docMk/>
          <pc:sldMk cId="2790215641" sldId="308"/>
        </pc:sldMkLst>
      </pc:sldChg>
      <pc:sldChg chg="new del">
        <pc:chgData name="Johanna Marx" userId="f7883e6b-b8f5-49bd-97ed-29afbba9d34b" providerId="ADAL" clId="{BFF0D389-B892-4D7B-A975-B893E75C7785}" dt="2024-07-08T09:40:16.172" v="7081" actId="47"/>
        <pc:sldMkLst>
          <pc:docMk/>
          <pc:sldMk cId="2974417790" sldId="308"/>
        </pc:sldMkLst>
      </pc:sldChg>
      <pc:sldChg chg="addSp delSp modSp new mod">
        <pc:chgData name="Johanna Marx" userId="f7883e6b-b8f5-49bd-97ed-29afbba9d34b" providerId="ADAL" clId="{BFF0D389-B892-4D7B-A975-B893E75C7785}" dt="2024-07-17T16:37:26.127" v="22156" actId="1037"/>
        <pc:sldMkLst>
          <pc:docMk/>
          <pc:sldMk cId="3944894673" sldId="309"/>
        </pc:sldMkLst>
      </pc:sldChg>
      <pc:sldChg chg="addSp delSp modSp new del mod">
        <pc:chgData name="Johanna Marx" userId="f7883e6b-b8f5-49bd-97ed-29afbba9d34b" providerId="ADAL" clId="{BFF0D389-B892-4D7B-A975-B893E75C7785}" dt="2024-07-10T14:13:56.081" v="8622" actId="47"/>
        <pc:sldMkLst>
          <pc:docMk/>
          <pc:sldMk cId="2861326746" sldId="310"/>
        </pc:sldMkLst>
      </pc:sldChg>
      <pc:sldChg chg="addSp delSp modSp add mod ord">
        <pc:chgData name="Johanna Marx" userId="f7883e6b-b8f5-49bd-97ed-29afbba9d34b" providerId="ADAL" clId="{BFF0D389-B892-4D7B-A975-B893E75C7785}" dt="2024-07-17T06:23:50.615" v="18640"/>
        <pc:sldMkLst>
          <pc:docMk/>
          <pc:sldMk cId="4118735400" sldId="311"/>
        </pc:sldMkLst>
      </pc:sldChg>
      <pc:sldChg chg="addSp delSp modSp new mod">
        <pc:chgData name="Johanna Marx" userId="f7883e6b-b8f5-49bd-97ed-29afbba9d34b" providerId="ADAL" clId="{BFF0D389-B892-4D7B-A975-B893E75C7785}" dt="2024-07-17T16:32:50.754" v="21891" actId="1038"/>
        <pc:sldMkLst>
          <pc:docMk/>
          <pc:sldMk cId="1054077313" sldId="312"/>
        </pc:sldMkLst>
      </pc:sldChg>
      <pc:sldChg chg="addSp delSp modSp new mod">
        <pc:chgData name="Johanna Marx" userId="f7883e6b-b8f5-49bd-97ed-29afbba9d34b" providerId="ADAL" clId="{BFF0D389-B892-4D7B-A975-B893E75C7785}" dt="2024-07-11T07:53:00.258" v="10826" actId="14100"/>
        <pc:sldMkLst>
          <pc:docMk/>
          <pc:sldMk cId="1288072368" sldId="313"/>
        </pc:sldMkLst>
      </pc:sldChg>
      <pc:sldChg chg="addSp delSp modSp new mod">
        <pc:chgData name="Johanna Marx" userId="f7883e6b-b8f5-49bd-97ed-29afbba9d34b" providerId="ADAL" clId="{BFF0D389-B892-4D7B-A975-B893E75C7785}" dt="2024-07-17T16:35:45.636" v="21990" actId="1076"/>
        <pc:sldMkLst>
          <pc:docMk/>
          <pc:sldMk cId="767817792" sldId="314"/>
        </pc:sldMkLst>
      </pc:sldChg>
      <pc:sldChg chg="addSp delSp modSp new mod ord">
        <pc:chgData name="Johanna Marx" userId="f7883e6b-b8f5-49bd-97ed-29afbba9d34b" providerId="ADAL" clId="{BFF0D389-B892-4D7B-A975-B893E75C7785}" dt="2024-07-17T16:31:25.709" v="21790" actId="1076"/>
        <pc:sldMkLst>
          <pc:docMk/>
          <pc:sldMk cId="3420601596" sldId="315"/>
        </pc:sldMkLst>
      </pc:sldChg>
      <pc:sldChg chg="modSp add del mod ord">
        <pc:chgData name="Johanna Marx" userId="f7883e6b-b8f5-49bd-97ed-29afbba9d34b" providerId="ADAL" clId="{BFF0D389-B892-4D7B-A975-B893E75C7785}" dt="2024-07-11T10:06:31.401" v="13224" actId="47"/>
        <pc:sldMkLst>
          <pc:docMk/>
          <pc:sldMk cId="1754843976" sldId="316"/>
        </pc:sldMkLst>
      </pc:sldChg>
      <pc:sldChg chg="addSp delSp modSp add mod ord addCm delCm modCm">
        <pc:chgData name="Johanna Marx" userId="f7883e6b-b8f5-49bd-97ed-29afbba9d34b" providerId="ADAL" clId="{BFF0D389-B892-4D7B-A975-B893E75C7785}" dt="2024-07-17T17:22:33.638" v="23166" actId="478"/>
        <pc:sldMkLst>
          <pc:docMk/>
          <pc:sldMk cId="1126850562" sldId="317"/>
        </pc:sldMkLst>
        <pc:extLst>
          <p:ext xmlns:p="http://schemas.openxmlformats.org/presentationml/2006/main" uri="{D6D511B9-2390-475A-947B-AFAB55BFBCF1}">
            <pc226:cmChg xmlns:pc226="http://schemas.microsoft.com/office/powerpoint/2022/06/main/command" chg="add del mod">
              <pc226:chgData name="Johanna Marx" userId="f7883e6b-b8f5-49bd-97ed-29afbba9d34b" providerId="ADAL" clId="{BFF0D389-B892-4D7B-A975-B893E75C7785}" dt="2024-07-17T17:22:31.935" v="23165"/>
              <pc2:cmMkLst xmlns:pc2="http://schemas.microsoft.com/office/powerpoint/2019/9/main/command">
                <pc:docMk/>
                <pc:sldMk cId="1126850562" sldId="317"/>
                <pc2:cmMk id="{BC01B87E-690F-46EC-80C3-F27115905BD7}"/>
              </pc2:cmMkLst>
            </pc226:cmChg>
            <pc226:cmChg xmlns:pc226="http://schemas.microsoft.com/office/powerpoint/2022/06/main/command" chg="add del mod">
              <pc226:chgData name="Johanna Marx" userId="f7883e6b-b8f5-49bd-97ed-29afbba9d34b" providerId="ADAL" clId="{BFF0D389-B892-4D7B-A975-B893E75C7785}" dt="2024-07-17T17:22:29.457" v="23164"/>
              <pc2:cmMkLst xmlns:pc2="http://schemas.microsoft.com/office/powerpoint/2019/9/main/command">
                <pc:docMk/>
                <pc:sldMk cId="1126850562" sldId="317"/>
                <pc2:cmMk id="{0DE0CADC-1697-4306-B606-ACAEDB63640B}"/>
              </pc2:cmMkLst>
            </pc226:cmChg>
          </p:ext>
        </pc:extLst>
      </pc:sldChg>
      <pc:sldChg chg="addSp delSp modSp add mod ord">
        <pc:chgData name="Johanna Marx" userId="f7883e6b-b8f5-49bd-97ed-29afbba9d34b" providerId="ADAL" clId="{BFF0D389-B892-4D7B-A975-B893E75C7785}" dt="2024-07-17T17:19:16.059" v="23007" actId="108"/>
        <pc:sldMkLst>
          <pc:docMk/>
          <pc:sldMk cId="373550321" sldId="318"/>
        </pc:sldMkLst>
      </pc:sldChg>
      <pc:sldChg chg="addSp delSp modSp new mod">
        <pc:chgData name="Johanna Marx" userId="f7883e6b-b8f5-49bd-97ed-29afbba9d34b" providerId="ADAL" clId="{BFF0D389-B892-4D7B-A975-B893E75C7785}" dt="2024-07-17T16:42:24.379" v="22383" actId="1076"/>
        <pc:sldMkLst>
          <pc:docMk/>
          <pc:sldMk cId="2310605384" sldId="319"/>
        </pc:sldMkLst>
      </pc:sldChg>
      <pc:sldChg chg="addSp delSp modSp add mod ord">
        <pc:chgData name="Johanna Marx" userId="f7883e6b-b8f5-49bd-97ed-29afbba9d34b" providerId="ADAL" clId="{BFF0D389-B892-4D7B-A975-B893E75C7785}" dt="2024-07-17T17:19:31.656" v="23008" actId="108"/>
        <pc:sldMkLst>
          <pc:docMk/>
          <pc:sldMk cId="2685171253" sldId="320"/>
        </pc:sldMkLst>
      </pc:sldChg>
      <pc:sldChg chg="addSp delSp modSp new mod">
        <pc:chgData name="Johanna Marx" userId="f7883e6b-b8f5-49bd-97ed-29afbba9d34b" providerId="ADAL" clId="{BFF0D389-B892-4D7B-A975-B893E75C7785}" dt="2024-07-11T08:27:33.145" v="11658" actId="478"/>
        <pc:sldMkLst>
          <pc:docMk/>
          <pc:sldMk cId="1718109997" sldId="321"/>
        </pc:sldMkLst>
      </pc:sldChg>
      <pc:sldChg chg="addSp delSp modSp new mod">
        <pc:chgData name="Johanna Marx" userId="f7883e6b-b8f5-49bd-97ed-29afbba9d34b" providerId="ADAL" clId="{BFF0D389-B892-4D7B-A975-B893E75C7785}" dt="2024-07-11T08:28:38.377" v="11676" actId="14100"/>
        <pc:sldMkLst>
          <pc:docMk/>
          <pc:sldMk cId="16049607" sldId="322"/>
        </pc:sldMkLst>
      </pc:sldChg>
      <pc:sldChg chg="new del">
        <pc:chgData name="Johanna Marx" userId="f7883e6b-b8f5-49bd-97ed-29afbba9d34b" providerId="ADAL" clId="{BFF0D389-B892-4D7B-A975-B893E75C7785}" dt="2024-07-11T08:27:41.978" v="11660" actId="47"/>
        <pc:sldMkLst>
          <pc:docMk/>
          <pc:sldMk cId="867664876" sldId="322"/>
        </pc:sldMkLst>
      </pc:sldChg>
      <pc:sldChg chg="addSp delSp modSp new mod">
        <pc:chgData name="Johanna Marx" userId="f7883e6b-b8f5-49bd-97ed-29afbba9d34b" providerId="ADAL" clId="{BFF0D389-B892-4D7B-A975-B893E75C7785}" dt="2024-07-17T16:45:57.001" v="22432" actId="1076"/>
        <pc:sldMkLst>
          <pc:docMk/>
          <pc:sldMk cId="1910569066" sldId="323"/>
        </pc:sldMkLst>
      </pc:sldChg>
      <pc:sldChg chg="addSp delSp modSp new mod">
        <pc:chgData name="Johanna Marx" userId="f7883e6b-b8f5-49bd-97ed-29afbba9d34b" providerId="ADAL" clId="{BFF0D389-B892-4D7B-A975-B893E75C7785}" dt="2024-07-17T16:46:16.866" v="22434" actId="1076"/>
        <pc:sldMkLst>
          <pc:docMk/>
          <pc:sldMk cId="2591005778" sldId="324"/>
        </pc:sldMkLst>
      </pc:sldChg>
      <pc:sldChg chg="addSp delSp modSp new mod delCm modCm">
        <pc:chgData name="Johanna Marx" userId="f7883e6b-b8f5-49bd-97ed-29afbba9d34b" providerId="ADAL" clId="{BFF0D389-B892-4D7B-A975-B893E75C7785}" dt="2024-07-17T17:19:39.890" v="23010" actId="108"/>
        <pc:sldMkLst>
          <pc:docMk/>
          <pc:sldMk cId="3782668847" sldId="325"/>
        </pc:sldMkLst>
        <pc:extLst>
          <p:ext xmlns:p="http://schemas.openxmlformats.org/presentationml/2006/main" uri="{D6D511B9-2390-475A-947B-AFAB55BFBCF1}">
            <pc226:cmChg xmlns:pc226="http://schemas.microsoft.com/office/powerpoint/2022/06/main/command" chg="del mod">
              <pc226:chgData name="Johanna Marx" userId="f7883e6b-b8f5-49bd-97ed-29afbba9d34b" providerId="ADAL" clId="{BFF0D389-B892-4D7B-A975-B893E75C7785}" dt="2024-07-17T16:49:56.673" v="22479"/>
              <pc2:cmMkLst xmlns:pc2="http://schemas.microsoft.com/office/powerpoint/2019/9/main/command">
                <pc:docMk/>
                <pc:sldMk cId="3782668847" sldId="325"/>
                <pc2:cmMk id="{95C0741E-86D4-441F-A944-135A0B0FBAAE}"/>
              </pc2:cmMkLst>
            </pc226:cmChg>
          </p:ext>
        </pc:extLst>
      </pc:sldChg>
      <pc:sldChg chg="addSp delSp modSp new mod">
        <pc:chgData name="Johanna Marx" userId="f7883e6b-b8f5-49bd-97ed-29afbba9d34b" providerId="ADAL" clId="{BFF0D389-B892-4D7B-A975-B893E75C7785}" dt="2024-07-17T16:49:30.535" v="22474" actId="14100"/>
        <pc:sldMkLst>
          <pc:docMk/>
          <pc:sldMk cId="4115732553" sldId="326"/>
        </pc:sldMkLst>
      </pc:sldChg>
      <pc:sldChg chg="addSp delSp modSp new mod">
        <pc:chgData name="Johanna Marx" userId="f7883e6b-b8f5-49bd-97ed-29afbba9d34b" providerId="ADAL" clId="{BFF0D389-B892-4D7B-A975-B893E75C7785}" dt="2024-07-17T16:49:13.045" v="22468" actId="1076"/>
        <pc:sldMkLst>
          <pc:docMk/>
          <pc:sldMk cId="2654186392" sldId="327"/>
        </pc:sldMkLst>
      </pc:sldChg>
      <pc:sldChg chg="addSp delSp modSp new mod">
        <pc:chgData name="Johanna Marx" userId="f7883e6b-b8f5-49bd-97ed-29afbba9d34b" providerId="ADAL" clId="{BFF0D389-B892-4D7B-A975-B893E75C7785}" dt="2024-07-11T08:56:43.066" v="12224" actId="14100"/>
        <pc:sldMkLst>
          <pc:docMk/>
          <pc:sldMk cId="915207829" sldId="328"/>
        </pc:sldMkLst>
      </pc:sldChg>
      <pc:sldChg chg="delSp new del mod">
        <pc:chgData name="Johanna Marx" userId="f7883e6b-b8f5-49bd-97ed-29afbba9d34b" providerId="ADAL" clId="{BFF0D389-B892-4D7B-A975-B893E75C7785}" dt="2024-07-11T08:55:52.349" v="12214" actId="47"/>
        <pc:sldMkLst>
          <pc:docMk/>
          <pc:sldMk cId="2311418506" sldId="328"/>
        </pc:sldMkLst>
      </pc:sldChg>
      <pc:sldChg chg="addSp delSp modSp new mod ord">
        <pc:chgData name="Johanna Marx" userId="f7883e6b-b8f5-49bd-97ed-29afbba9d34b" providerId="ADAL" clId="{BFF0D389-B892-4D7B-A975-B893E75C7785}" dt="2024-07-17T07:13:24.439" v="20004"/>
        <pc:sldMkLst>
          <pc:docMk/>
          <pc:sldMk cId="2059201764" sldId="329"/>
        </pc:sldMkLst>
      </pc:sldChg>
      <pc:sldChg chg="addSp delSp modSp new mod">
        <pc:chgData name="Johanna Marx" userId="f7883e6b-b8f5-49bd-97ed-29afbba9d34b" providerId="ADAL" clId="{BFF0D389-B892-4D7B-A975-B893E75C7785}" dt="2024-07-17T17:56:25.614" v="24103" actId="1035"/>
        <pc:sldMkLst>
          <pc:docMk/>
          <pc:sldMk cId="1263294924" sldId="330"/>
        </pc:sldMkLst>
      </pc:sldChg>
      <pc:sldChg chg="addSp delSp modSp new mod">
        <pc:chgData name="Johanna Marx" userId="f7883e6b-b8f5-49bd-97ed-29afbba9d34b" providerId="ADAL" clId="{BFF0D389-B892-4D7B-A975-B893E75C7785}" dt="2024-07-17T17:56:59.056" v="24105" actId="20577"/>
        <pc:sldMkLst>
          <pc:docMk/>
          <pc:sldMk cId="3545089216" sldId="331"/>
        </pc:sldMkLst>
      </pc:sldChg>
      <pc:sldChg chg="addSp delSp modSp new mod">
        <pc:chgData name="Johanna Marx" userId="f7883e6b-b8f5-49bd-97ed-29afbba9d34b" providerId="ADAL" clId="{BFF0D389-B892-4D7B-A975-B893E75C7785}" dt="2024-07-11T09:34:52.375" v="12890" actId="5793"/>
        <pc:sldMkLst>
          <pc:docMk/>
          <pc:sldMk cId="659666124" sldId="332"/>
        </pc:sldMkLst>
      </pc:sldChg>
      <pc:sldChg chg="addSp delSp modSp new mod">
        <pc:chgData name="Johanna Marx" userId="f7883e6b-b8f5-49bd-97ed-29afbba9d34b" providerId="ADAL" clId="{BFF0D389-B892-4D7B-A975-B893E75C7785}" dt="2024-07-17T17:57:04.492" v="24109" actId="20577"/>
        <pc:sldMkLst>
          <pc:docMk/>
          <pc:sldMk cId="1361510755" sldId="333"/>
        </pc:sldMkLst>
      </pc:sldChg>
      <pc:sldChg chg="addSp delSp modSp add mod ord addCm modCm">
        <pc:chgData name="Johanna Marx" userId="f7883e6b-b8f5-49bd-97ed-29afbba9d34b" providerId="ADAL" clId="{BFF0D389-B892-4D7B-A975-B893E75C7785}" dt="2024-07-17T06:51:11.581" v="19570"/>
        <pc:sldMkLst>
          <pc:docMk/>
          <pc:sldMk cId="1558425071" sldId="334"/>
        </pc:sldMkLst>
        <pc:extLst>
          <p:ext xmlns:p="http://schemas.openxmlformats.org/presentationml/2006/main" uri="{D6D511B9-2390-475A-947B-AFAB55BFBCF1}">
            <pc226:cmChg xmlns:pc226="http://schemas.microsoft.com/office/powerpoint/2022/06/main/command" chg="add mod">
              <pc226:chgData name="Johanna Marx" userId="f7883e6b-b8f5-49bd-97ed-29afbba9d34b" providerId="ADAL" clId="{BFF0D389-B892-4D7B-A975-B893E75C7785}" dt="2024-07-17T06:51:11.581" v="19570"/>
              <pc2:cmMkLst xmlns:pc2="http://schemas.microsoft.com/office/powerpoint/2019/9/main/command">
                <pc:docMk/>
                <pc:sldMk cId="1558425071" sldId="334"/>
                <pc2:cmMk id="{BCD1F6D2-40D6-4754-9F52-D8D471DA546C}"/>
              </pc2:cmMkLst>
            </pc226:cmChg>
          </p:ext>
        </pc:extLst>
      </pc:sldChg>
      <pc:sldChg chg="addSp delSp modSp new del mod">
        <pc:chgData name="Johanna Marx" userId="f7883e6b-b8f5-49bd-97ed-29afbba9d34b" providerId="ADAL" clId="{BFF0D389-B892-4D7B-A975-B893E75C7785}" dt="2024-07-11T10:06:14.485" v="13219" actId="47"/>
        <pc:sldMkLst>
          <pc:docMk/>
          <pc:sldMk cId="2793627532" sldId="334"/>
        </pc:sldMkLst>
      </pc:sldChg>
      <pc:sldChg chg="addSp delSp modSp add del mod ord">
        <pc:chgData name="Johanna Marx" userId="f7883e6b-b8f5-49bd-97ed-29afbba9d34b" providerId="ADAL" clId="{BFF0D389-B892-4D7B-A975-B893E75C7785}" dt="2024-07-11T10:18:30.343" v="13278" actId="47"/>
        <pc:sldMkLst>
          <pc:docMk/>
          <pc:sldMk cId="3119090821" sldId="335"/>
        </pc:sldMkLst>
      </pc:sldChg>
      <pc:sldChg chg="addSp delSp modSp add mod">
        <pc:chgData name="Johanna Marx" userId="f7883e6b-b8f5-49bd-97ed-29afbba9d34b" providerId="ADAL" clId="{BFF0D389-B892-4D7B-A975-B893E75C7785}" dt="2024-07-17T15:16:48.049" v="20469" actId="478"/>
        <pc:sldMkLst>
          <pc:docMk/>
          <pc:sldMk cId="2974701433" sldId="336"/>
        </pc:sldMkLst>
      </pc:sldChg>
      <pc:sldChg chg="addSp modSp add del mod ord">
        <pc:chgData name="Johanna Marx" userId="f7883e6b-b8f5-49bd-97ed-29afbba9d34b" providerId="ADAL" clId="{BFF0D389-B892-4D7B-A975-B893E75C7785}" dt="2024-07-17T17:37:45.179" v="23398" actId="47"/>
        <pc:sldMkLst>
          <pc:docMk/>
          <pc:sldMk cId="396498426" sldId="337"/>
        </pc:sldMkLst>
      </pc:sldChg>
      <pc:sldChg chg="modSp add del mod">
        <pc:chgData name="Johanna Marx" userId="f7883e6b-b8f5-49bd-97ed-29afbba9d34b" providerId="ADAL" clId="{BFF0D389-B892-4D7B-A975-B893E75C7785}" dt="2024-07-15T14:17:44.693" v="14120" actId="47"/>
        <pc:sldMkLst>
          <pc:docMk/>
          <pc:sldMk cId="1690808361" sldId="338"/>
        </pc:sldMkLst>
      </pc:sldChg>
      <pc:sldChg chg="modSp add mod ord">
        <pc:chgData name="Johanna Marx" userId="f7883e6b-b8f5-49bd-97ed-29afbba9d34b" providerId="ADAL" clId="{BFF0D389-B892-4D7B-A975-B893E75C7785}" dt="2024-07-17T06:23:50.615" v="18640"/>
        <pc:sldMkLst>
          <pc:docMk/>
          <pc:sldMk cId="1183542163" sldId="339"/>
        </pc:sldMkLst>
      </pc:sldChg>
      <pc:sldChg chg="addSp delSp modSp new del mod">
        <pc:chgData name="Johanna Marx" userId="f7883e6b-b8f5-49bd-97ed-29afbba9d34b" providerId="ADAL" clId="{BFF0D389-B892-4D7B-A975-B893E75C7785}" dt="2024-07-15T14:03:56.927" v="13707" actId="47"/>
        <pc:sldMkLst>
          <pc:docMk/>
          <pc:sldMk cId="2762140397" sldId="339"/>
        </pc:sldMkLst>
      </pc:sldChg>
      <pc:sldChg chg="addSp delSp modSp new mod">
        <pc:chgData name="Johanna Marx" userId="f7883e6b-b8f5-49bd-97ed-29afbba9d34b" providerId="ADAL" clId="{BFF0D389-B892-4D7B-A975-B893E75C7785}" dt="2024-07-15T14:17:23.719" v="14119" actId="114"/>
        <pc:sldMkLst>
          <pc:docMk/>
          <pc:sldMk cId="1871282574" sldId="340"/>
        </pc:sldMkLst>
      </pc:sldChg>
      <pc:sldChg chg="addSp delSp modSp add mod ord addCm delCm">
        <pc:chgData name="Johanna Marx" userId="f7883e6b-b8f5-49bd-97ed-29afbba9d34b" providerId="ADAL" clId="{BFF0D389-B892-4D7B-A975-B893E75C7785}" dt="2024-07-17T17:57:41.674" v="24110"/>
        <pc:sldMkLst>
          <pc:docMk/>
          <pc:sldMk cId="1127244407" sldId="341"/>
        </pc:sldMkLst>
        <pc:extLst>
          <p:ext xmlns:p="http://schemas.openxmlformats.org/presentationml/2006/main" uri="{D6D511B9-2390-475A-947B-AFAB55BFBCF1}">
            <pc226:cmChg xmlns:pc226="http://schemas.microsoft.com/office/powerpoint/2022/06/main/command" chg="add del">
              <pc226:chgData name="Johanna Marx" userId="f7883e6b-b8f5-49bd-97ed-29afbba9d34b" providerId="ADAL" clId="{BFF0D389-B892-4D7B-A975-B893E75C7785}" dt="2024-07-17T17:57:41.674" v="24110"/>
              <pc2:cmMkLst xmlns:pc2="http://schemas.microsoft.com/office/powerpoint/2019/9/main/command">
                <pc:docMk/>
                <pc:sldMk cId="1127244407" sldId="341"/>
                <pc2:cmMk id="{0B446293-67D4-4114-A81B-A1420BB50479}"/>
              </pc2:cmMkLst>
            </pc226:cmChg>
          </p:ext>
        </pc:extLst>
      </pc:sldChg>
      <pc:sldChg chg="addSp delSp modSp new del mod">
        <pc:chgData name="Johanna Marx" userId="f7883e6b-b8f5-49bd-97ed-29afbba9d34b" providerId="ADAL" clId="{BFF0D389-B892-4D7B-A975-B893E75C7785}" dt="2024-07-17T18:07:18.671" v="24202" actId="47"/>
        <pc:sldMkLst>
          <pc:docMk/>
          <pc:sldMk cId="967430045" sldId="342"/>
        </pc:sldMkLst>
      </pc:sldChg>
      <pc:sldChg chg="addSp delSp modSp new mod addCm modCm">
        <pc:chgData name="Johanna Marx" userId="f7883e6b-b8f5-49bd-97ed-29afbba9d34b" providerId="ADAL" clId="{BFF0D389-B892-4D7B-A975-B893E75C7785}" dt="2024-07-17T17:50:11.690" v="24009" actId="1076"/>
        <pc:sldMkLst>
          <pc:docMk/>
          <pc:sldMk cId="2740505906" sldId="343"/>
        </pc:sldMkLst>
        <pc:extLst>
          <p:ext xmlns:p="http://schemas.openxmlformats.org/presentationml/2006/main" uri="{D6D511B9-2390-475A-947B-AFAB55BFBCF1}">
            <pc226:cmChg xmlns:pc226="http://schemas.microsoft.com/office/powerpoint/2022/06/main/command" chg="add mod">
              <pc226:chgData name="Johanna Marx" userId="f7883e6b-b8f5-49bd-97ed-29afbba9d34b" providerId="ADAL" clId="{BFF0D389-B892-4D7B-A975-B893E75C7785}" dt="2024-07-17T11:04:33.358" v="20468"/>
              <pc2:cmMkLst xmlns:pc2="http://schemas.microsoft.com/office/powerpoint/2019/9/main/command">
                <pc:docMk/>
                <pc:sldMk cId="2740505906" sldId="343"/>
                <pc2:cmMk id="{636E821A-01E0-4DBA-8009-480C5FA2C390}"/>
              </pc2:cmMkLst>
            </pc226:cmChg>
          </p:ext>
        </pc:extLst>
      </pc:sldChg>
      <pc:sldChg chg="addSp delSp modSp new mod">
        <pc:chgData name="Johanna Marx" userId="f7883e6b-b8f5-49bd-97ed-29afbba9d34b" providerId="ADAL" clId="{BFF0D389-B892-4D7B-A975-B893E75C7785}" dt="2024-07-17T17:50:05.087" v="24007" actId="1038"/>
        <pc:sldMkLst>
          <pc:docMk/>
          <pc:sldMk cId="4291341608" sldId="344"/>
        </pc:sldMkLst>
      </pc:sldChg>
      <pc:sldChg chg="addSp delSp modSp new mod">
        <pc:chgData name="Johanna Marx" userId="f7883e6b-b8f5-49bd-97ed-29afbba9d34b" providerId="ADAL" clId="{BFF0D389-B892-4D7B-A975-B893E75C7785}" dt="2024-07-17T17:49:56.039" v="23997" actId="14100"/>
        <pc:sldMkLst>
          <pc:docMk/>
          <pc:sldMk cId="2497767716" sldId="345"/>
        </pc:sldMkLst>
      </pc:sldChg>
      <pc:sldChg chg="addSp delSp modSp new mod">
        <pc:chgData name="Johanna Marx" userId="f7883e6b-b8f5-49bd-97ed-29afbba9d34b" providerId="ADAL" clId="{BFF0D389-B892-4D7B-A975-B893E75C7785}" dt="2024-07-15T16:07:19.152" v="15899" actId="14100"/>
        <pc:sldMkLst>
          <pc:docMk/>
          <pc:sldMk cId="386974616" sldId="346"/>
        </pc:sldMkLst>
      </pc:sldChg>
      <pc:sldChg chg="addSp delSp modSp new mod">
        <pc:chgData name="Johanna Marx" userId="f7883e6b-b8f5-49bd-97ed-29afbba9d34b" providerId="ADAL" clId="{BFF0D389-B892-4D7B-A975-B893E75C7785}" dt="2024-07-15T16:26:19.568" v="16694" actId="1076"/>
        <pc:sldMkLst>
          <pc:docMk/>
          <pc:sldMk cId="3719124343" sldId="347"/>
        </pc:sldMkLst>
      </pc:sldChg>
      <pc:sldChg chg="addSp delSp modSp new mod">
        <pc:chgData name="Johanna Marx" userId="f7883e6b-b8f5-49bd-97ed-29afbba9d34b" providerId="ADAL" clId="{BFF0D389-B892-4D7B-A975-B893E75C7785}" dt="2024-07-17T17:50:33.663" v="24012" actId="14100"/>
        <pc:sldMkLst>
          <pc:docMk/>
          <pc:sldMk cId="1464927690" sldId="348"/>
        </pc:sldMkLst>
      </pc:sldChg>
      <pc:sldChg chg="addSp delSp modSp new mod">
        <pc:chgData name="Johanna Marx" userId="f7883e6b-b8f5-49bd-97ed-29afbba9d34b" providerId="ADAL" clId="{BFF0D389-B892-4D7B-A975-B893E75C7785}" dt="2024-07-17T17:51:02.889" v="24020" actId="478"/>
        <pc:sldMkLst>
          <pc:docMk/>
          <pc:sldMk cId="1933968534" sldId="349"/>
        </pc:sldMkLst>
      </pc:sldChg>
      <pc:sldChg chg="addSp delSp modSp new mod">
        <pc:chgData name="Johanna Marx" userId="f7883e6b-b8f5-49bd-97ed-29afbba9d34b" providerId="ADAL" clId="{BFF0D389-B892-4D7B-A975-B893E75C7785}" dt="2024-07-17T17:51:14.342" v="24024" actId="478"/>
        <pc:sldMkLst>
          <pc:docMk/>
          <pc:sldMk cId="284084864" sldId="350"/>
        </pc:sldMkLst>
      </pc:sldChg>
      <pc:sldChg chg="modSp add del mod ord">
        <pc:chgData name="Johanna Marx" userId="f7883e6b-b8f5-49bd-97ed-29afbba9d34b" providerId="ADAL" clId="{BFF0D389-B892-4D7B-A975-B893E75C7785}" dt="2024-07-16T18:19:06.854" v="16840" actId="47"/>
        <pc:sldMkLst>
          <pc:docMk/>
          <pc:sldMk cId="1420518866" sldId="351"/>
        </pc:sldMkLst>
      </pc:sldChg>
      <pc:sldChg chg="addSp delSp modSp add mod ord">
        <pc:chgData name="Johanna Marx" userId="f7883e6b-b8f5-49bd-97ed-29afbba9d34b" providerId="ADAL" clId="{BFF0D389-B892-4D7B-A975-B893E75C7785}" dt="2024-07-17T17:56:11.682" v="24060" actId="1035"/>
        <pc:sldMkLst>
          <pc:docMk/>
          <pc:sldMk cId="2797522874" sldId="351"/>
        </pc:sldMkLst>
      </pc:sldChg>
      <pc:sldChg chg="addSp delSp modSp add mod">
        <pc:chgData name="Johanna Marx" userId="f7883e6b-b8f5-49bd-97ed-29afbba9d34b" providerId="ADAL" clId="{BFF0D389-B892-4D7B-A975-B893E75C7785}" dt="2024-07-17T16:58:30.686" v="22646" actId="478"/>
        <pc:sldMkLst>
          <pc:docMk/>
          <pc:sldMk cId="160204436" sldId="352"/>
        </pc:sldMkLst>
      </pc:sldChg>
      <pc:sldChg chg="delSp add del mod">
        <pc:chgData name="Johanna Marx" userId="f7883e6b-b8f5-49bd-97ed-29afbba9d34b" providerId="ADAL" clId="{BFF0D389-B892-4D7B-A975-B893E75C7785}" dt="2024-07-17T06:28:39.286" v="18877" actId="47"/>
        <pc:sldMkLst>
          <pc:docMk/>
          <pc:sldMk cId="2732465343" sldId="353"/>
        </pc:sldMkLst>
      </pc:sldChg>
      <pc:sldChg chg="addSp delSp modSp mod addCm delCm">
        <pc:chgData name="Johanna Marx" userId="f7883e6b-b8f5-49bd-97ed-29afbba9d34b" providerId="ADAL" clId="{BFF0D389-B892-4D7B-A975-B893E75C7785}" dt="2024-07-17T15:19:28.152" v="20483"/>
        <pc:sldMkLst>
          <pc:docMk/>
          <pc:sldMk cId="3237785027" sldId="354"/>
        </pc:sldMkLst>
        <pc:extLst>
          <p:ext xmlns:p="http://schemas.openxmlformats.org/presentationml/2006/main" uri="{D6D511B9-2390-475A-947B-AFAB55BFBCF1}">
            <pc226:cmChg xmlns:pc226="http://schemas.microsoft.com/office/powerpoint/2022/06/main/command" chg="del">
              <pc226:chgData name="Johanna Marx" userId="f7883e6b-b8f5-49bd-97ed-29afbba9d34b" providerId="ADAL" clId="{BFF0D389-B892-4D7B-A975-B893E75C7785}" dt="2024-07-17T11:03:21.044" v="20385"/>
              <pc2:cmMkLst xmlns:pc2="http://schemas.microsoft.com/office/powerpoint/2019/9/main/command">
                <pc:docMk/>
                <pc:sldMk cId="3237785027" sldId="354"/>
                <pc2:cmMk id="{62777916-AE05-4CC0-A1F3-E61A94AB4C08}"/>
              </pc2:cmMkLst>
            </pc226:cmChg>
            <pc226:cmChg xmlns:pc226="http://schemas.microsoft.com/office/powerpoint/2022/06/main/command" chg="add">
              <pc226:chgData name="Johanna Marx" userId="f7883e6b-b8f5-49bd-97ed-29afbba9d34b" providerId="ADAL" clId="{BFF0D389-B892-4D7B-A975-B893E75C7785}" dt="2024-07-17T15:19:28.152" v="20483"/>
              <pc2:cmMkLst xmlns:pc2="http://schemas.microsoft.com/office/powerpoint/2019/9/main/command">
                <pc:docMk/>
                <pc:sldMk cId="3237785027" sldId="354"/>
                <pc2:cmMk id="{AAC6FDA8-522B-410E-A364-E5B00BFDDF69}"/>
              </pc2:cmMkLst>
            </pc226:cmChg>
          </p:ext>
        </pc:extLst>
      </pc:sldChg>
      <pc:sldChg chg="addSp delSp modSp mod">
        <pc:chgData name="Johanna Marx" userId="f7883e6b-b8f5-49bd-97ed-29afbba9d34b" providerId="ADAL" clId="{BFF0D389-B892-4D7B-A975-B893E75C7785}" dt="2024-07-17T17:49:34.591" v="23959" actId="1076"/>
        <pc:sldMkLst>
          <pc:docMk/>
          <pc:sldMk cId="736897047" sldId="355"/>
        </pc:sldMkLst>
      </pc:sldChg>
      <pc:sldChg chg="addSp delSp modSp mod">
        <pc:chgData name="Johanna Marx" userId="f7883e6b-b8f5-49bd-97ed-29afbba9d34b" providerId="ADAL" clId="{BFF0D389-B892-4D7B-A975-B893E75C7785}" dt="2024-07-17T17:51:27.195" v="24027" actId="478"/>
        <pc:sldMkLst>
          <pc:docMk/>
          <pc:sldMk cId="828749288" sldId="356"/>
        </pc:sldMkLst>
      </pc:sldChg>
      <pc:sldChg chg="addSp delSp modSp mod">
        <pc:chgData name="Johanna Marx" userId="f7883e6b-b8f5-49bd-97ed-29afbba9d34b" providerId="ADAL" clId="{BFF0D389-B892-4D7B-A975-B893E75C7785}" dt="2024-07-17T17:51:33.030" v="24029" actId="478"/>
        <pc:sldMkLst>
          <pc:docMk/>
          <pc:sldMk cId="1051582617" sldId="357"/>
        </pc:sldMkLst>
      </pc:sldChg>
      <pc:sldChg chg="modSp mod">
        <pc:chgData name="Johanna Marx" userId="f7883e6b-b8f5-49bd-97ed-29afbba9d34b" providerId="ADAL" clId="{BFF0D389-B892-4D7B-A975-B893E75C7785}" dt="2024-07-17T17:45:51.308" v="23582" actId="1037"/>
        <pc:sldMkLst>
          <pc:docMk/>
          <pc:sldMk cId="2478495603" sldId="360"/>
        </pc:sldMkLst>
      </pc:sldChg>
      <pc:sldChg chg="addSp delSp modSp mod">
        <pc:chgData name="Johanna Marx" userId="f7883e6b-b8f5-49bd-97ed-29afbba9d34b" providerId="ADAL" clId="{BFF0D389-B892-4D7B-A975-B893E75C7785}" dt="2024-07-17T17:51:44.914" v="24032" actId="478"/>
        <pc:sldMkLst>
          <pc:docMk/>
          <pc:sldMk cId="2305601738" sldId="361"/>
        </pc:sldMkLst>
      </pc:sldChg>
      <pc:sldChg chg="modSp mod">
        <pc:chgData name="Johanna Marx" userId="f7883e6b-b8f5-49bd-97ed-29afbba9d34b" providerId="ADAL" clId="{BFF0D389-B892-4D7B-A975-B893E75C7785}" dt="2024-07-17T17:43:56.917" v="23483" actId="1035"/>
        <pc:sldMkLst>
          <pc:docMk/>
          <pc:sldMk cId="3347662735" sldId="362"/>
        </pc:sldMkLst>
      </pc:sldChg>
      <pc:sldChg chg="modSp mod">
        <pc:chgData name="Johanna Marx" userId="f7883e6b-b8f5-49bd-97ed-29afbba9d34b" providerId="ADAL" clId="{BFF0D389-B892-4D7B-A975-B893E75C7785}" dt="2024-07-17T17:44:39.335" v="23521" actId="14100"/>
        <pc:sldMkLst>
          <pc:docMk/>
          <pc:sldMk cId="1343127239" sldId="363"/>
        </pc:sldMkLst>
      </pc:sldChg>
      <pc:sldChg chg="modSp mod">
        <pc:chgData name="Johanna Marx" userId="f7883e6b-b8f5-49bd-97ed-29afbba9d34b" providerId="ADAL" clId="{BFF0D389-B892-4D7B-A975-B893E75C7785}" dt="2024-07-17T17:45:06.274" v="23533" actId="1038"/>
        <pc:sldMkLst>
          <pc:docMk/>
          <pc:sldMk cId="4283035542" sldId="364"/>
        </pc:sldMkLst>
      </pc:sldChg>
      <pc:sldChg chg="modSp mod">
        <pc:chgData name="Johanna Marx" userId="f7883e6b-b8f5-49bd-97ed-29afbba9d34b" providerId="ADAL" clId="{BFF0D389-B892-4D7B-A975-B893E75C7785}" dt="2024-07-17T17:44:55.031" v="23528" actId="1038"/>
        <pc:sldMkLst>
          <pc:docMk/>
          <pc:sldMk cId="3128357680" sldId="365"/>
        </pc:sldMkLst>
      </pc:sldChg>
      <pc:sldChg chg="addSp delSp modSp new mod">
        <pc:chgData name="Johanna Marx" userId="f7883e6b-b8f5-49bd-97ed-29afbba9d34b" providerId="ADAL" clId="{BFF0D389-B892-4D7B-A975-B893E75C7785}" dt="2024-07-17T06:29:05.690" v="18880" actId="20577"/>
        <pc:sldMkLst>
          <pc:docMk/>
          <pc:sldMk cId="1347835055" sldId="366"/>
        </pc:sldMkLst>
      </pc:sldChg>
      <pc:sldChg chg="addSp delSp modSp new mod">
        <pc:chgData name="Johanna Marx" userId="f7883e6b-b8f5-49bd-97ed-29afbba9d34b" providerId="ADAL" clId="{BFF0D389-B892-4D7B-A975-B893E75C7785}" dt="2024-07-17T15:21:04.302" v="20487" actId="20577"/>
        <pc:sldMkLst>
          <pc:docMk/>
          <pc:sldMk cId="1662382075" sldId="367"/>
        </pc:sldMkLst>
      </pc:sldChg>
      <pc:sldChg chg="addSp delSp modSp new mod">
        <pc:chgData name="Johanna Marx" userId="f7883e6b-b8f5-49bd-97ed-29afbba9d34b" providerId="ADAL" clId="{BFF0D389-B892-4D7B-A975-B893E75C7785}" dt="2024-07-17T17:18:31.040" v="22996" actId="12"/>
        <pc:sldMkLst>
          <pc:docMk/>
          <pc:sldMk cId="4061445094" sldId="370"/>
        </pc:sldMkLst>
      </pc:sldChg>
      <pc:sldChg chg="addSp delSp modSp new del mod">
        <pc:chgData name="Johanna Marx" userId="f7883e6b-b8f5-49bd-97ed-29afbba9d34b" providerId="ADAL" clId="{BFF0D389-B892-4D7B-A975-B893E75C7785}" dt="2024-07-17T16:15:13.480" v="21431" actId="47"/>
        <pc:sldMkLst>
          <pc:docMk/>
          <pc:sldMk cId="116288828" sldId="371"/>
        </pc:sldMkLst>
      </pc:sldChg>
      <pc:sldChg chg="addSp delSp modSp new del mod">
        <pc:chgData name="Johanna Marx" userId="f7883e6b-b8f5-49bd-97ed-29afbba9d34b" providerId="ADAL" clId="{BFF0D389-B892-4D7B-A975-B893E75C7785}" dt="2024-07-17T16:33:31.502" v="21964" actId="47"/>
        <pc:sldMkLst>
          <pc:docMk/>
          <pc:sldMk cId="2183341266" sldId="373"/>
        </pc:sldMkLst>
      </pc:sldChg>
      <pc:sldChg chg="modSp mod">
        <pc:chgData name="Johanna Marx" userId="f7883e6b-b8f5-49bd-97ed-29afbba9d34b" providerId="ADAL" clId="{BFF0D389-B892-4D7B-A975-B893E75C7785}" dt="2024-07-17T17:17:19.542" v="22987" actId="20577"/>
        <pc:sldMkLst>
          <pc:docMk/>
          <pc:sldMk cId="1237709550" sldId="374"/>
        </pc:sldMkLst>
      </pc:sldChg>
      <pc:sldChg chg="addSp delSp modSp new mod">
        <pc:chgData name="Johanna Marx" userId="f7883e6b-b8f5-49bd-97ed-29afbba9d34b" providerId="ADAL" clId="{BFF0D389-B892-4D7B-A975-B893E75C7785}" dt="2024-07-17T16:20:23.209" v="21484" actId="1076"/>
        <pc:sldMkLst>
          <pc:docMk/>
          <pc:sldMk cId="2849113408" sldId="375"/>
        </pc:sldMkLst>
      </pc:sldChg>
      <pc:sldChg chg="addSp delSp modSp new del mod">
        <pc:chgData name="Johanna Marx" userId="f7883e6b-b8f5-49bd-97ed-29afbba9d34b" providerId="ADAL" clId="{BFF0D389-B892-4D7B-A975-B893E75C7785}" dt="2024-07-17T16:38:13.517" v="22225" actId="47"/>
        <pc:sldMkLst>
          <pc:docMk/>
          <pc:sldMk cId="3610076461" sldId="376"/>
        </pc:sldMkLst>
      </pc:sldChg>
      <pc:sldChg chg="addSp delSp modSp new del mod">
        <pc:chgData name="Johanna Marx" userId="f7883e6b-b8f5-49bd-97ed-29afbba9d34b" providerId="ADAL" clId="{BFF0D389-B892-4D7B-A975-B893E75C7785}" dt="2024-07-17T16:30:53.349" v="21783" actId="47"/>
        <pc:sldMkLst>
          <pc:docMk/>
          <pc:sldMk cId="868513994" sldId="377"/>
        </pc:sldMkLst>
      </pc:sldChg>
      <pc:sldChg chg="addSp delSp modSp new mod">
        <pc:chgData name="Johanna Marx" userId="f7883e6b-b8f5-49bd-97ed-29afbba9d34b" providerId="ADAL" clId="{BFF0D389-B892-4D7B-A975-B893E75C7785}" dt="2024-07-17T16:34:11.702" v="21968" actId="1076"/>
        <pc:sldMkLst>
          <pc:docMk/>
          <pc:sldMk cId="1767982433" sldId="377"/>
        </pc:sldMkLst>
      </pc:sldChg>
      <pc:sldChg chg="addSp delSp modSp new del mod">
        <pc:chgData name="Johanna Marx" userId="f7883e6b-b8f5-49bd-97ed-29afbba9d34b" providerId="ADAL" clId="{BFF0D389-B892-4D7B-A975-B893E75C7785}" dt="2024-07-17T18:19:55.919" v="24416" actId="47"/>
        <pc:sldMkLst>
          <pc:docMk/>
          <pc:sldMk cId="3923832735" sldId="378"/>
        </pc:sldMkLst>
      </pc:sldChg>
      <pc:sldChg chg="addSp delSp modSp new mod">
        <pc:chgData name="Johanna Marx" userId="f7883e6b-b8f5-49bd-97ed-29afbba9d34b" providerId="ADAL" clId="{BFF0D389-B892-4D7B-A975-B893E75C7785}" dt="2024-07-17T17:37:27.673" v="23397" actId="20577"/>
        <pc:sldMkLst>
          <pc:docMk/>
          <pc:sldMk cId="3645510430" sldId="379"/>
        </pc:sldMkLst>
      </pc:sldChg>
      <pc:sldChg chg="addSp delSp modSp mod">
        <pc:chgData name="Johanna Marx" userId="f7883e6b-b8f5-49bd-97ed-29afbba9d34b" providerId="ADAL" clId="{BFF0D389-B892-4D7B-A975-B893E75C7785}" dt="2024-07-17T18:19:49.416" v="24415" actId="1036"/>
        <pc:sldMkLst>
          <pc:docMk/>
          <pc:sldMk cId="2577462896" sldId="380"/>
        </pc:sldMkLst>
      </pc:sldChg>
      <pc:sldChg chg="add">
        <pc:chgData name="Johanna Marx" userId="f7883e6b-b8f5-49bd-97ed-29afbba9d34b" providerId="ADAL" clId="{BFF0D389-B892-4D7B-A975-B893E75C7785}" dt="2024-07-17T17:35:28.119" v="23391" actId="2890"/>
        <pc:sldMkLst>
          <pc:docMk/>
          <pc:sldMk cId="3986482285" sldId="380"/>
        </pc:sldMkLst>
      </pc:sldChg>
      <pc:sldChg chg="add mod ord modShow">
        <pc:chgData name="Johanna Marx" userId="f7883e6b-b8f5-49bd-97ed-29afbba9d34b" providerId="ADAL" clId="{BFF0D389-B892-4D7B-A975-B893E75C7785}" dt="2024-07-17T17:42:40.702" v="23402" actId="729"/>
        <pc:sldMkLst>
          <pc:docMk/>
          <pc:sldMk cId="3616379370" sldId="381"/>
        </pc:sldMkLst>
      </pc:sldChg>
      <pc:sldChg chg="del">
        <pc:chgData name="Johanna Marx" userId="f7883e6b-b8f5-49bd-97ed-29afbba9d34b" providerId="ADAL" clId="{BFF0D389-B892-4D7B-A975-B893E75C7785}" dt="2024-07-17T17:35:36.123" v="23392" actId="47"/>
        <pc:sldMkLst>
          <pc:docMk/>
          <pc:sldMk cId="3986482285" sldId="381"/>
        </pc:sldMkLst>
      </pc:sldChg>
      <pc:sldChg chg="modSp mod">
        <pc:chgData name="Johanna Marx" userId="f7883e6b-b8f5-49bd-97ed-29afbba9d34b" providerId="ADAL" clId="{BFF0D389-B892-4D7B-A975-B893E75C7785}" dt="2024-07-17T18:18:15.488" v="24367" actId="1076"/>
        <pc:sldMkLst>
          <pc:docMk/>
          <pc:sldMk cId="1028456503" sldId="382"/>
        </pc:sldMkLst>
      </pc:sldChg>
      <pc:sldChg chg="addSp delSp modSp add mod ord">
        <pc:chgData name="Johanna Marx" userId="f7883e6b-b8f5-49bd-97ed-29afbba9d34b" providerId="ADAL" clId="{BFF0D389-B892-4D7B-A975-B893E75C7785}" dt="2024-07-17T18:08:00.676" v="24205" actId="167"/>
        <pc:sldMkLst>
          <pc:docMk/>
          <pc:sldMk cId="2307933946" sldId="383"/>
        </pc:sldMkLst>
      </pc:sldChg>
      <pc:sldMasterChg chg="modSp delSldLayout modSldLayout">
        <pc:chgData name="Johanna Marx" userId="f7883e6b-b8f5-49bd-97ed-29afbba9d34b" providerId="ADAL" clId="{BFF0D389-B892-4D7B-A975-B893E75C7785}" dt="2024-07-11T10:32:10.611" v="13421" actId="47"/>
        <pc:sldMasterMkLst>
          <pc:docMk/>
          <pc:sldMasterMk cId="0" sldId="2147483669"/>
        </pc:sldMasterMkLst>
        <pc:sldLayoutChg chg="addSp delSp modSp del mod">
          <pc:chgData name="Johanna Marx" userId="f7883e6b-b8f5-49bd-97ed-29afbba9d34b" providerId="ADAL" clId="{BFF0D389-B892-4D7B-A975-B893E75C7785}" dt="2024-07-11T10:06:17.022" v="13220" actId="47"/>
          <pc:sldLayoutMkLst>
            <pc:docMk/>
            <pc:sldMasterMk cId="0" sldId="2147483669"/>
            <pc:sldLayoutMk cId="0" sldId="2147483649"/>
          </pc:sldLayoutMkLst>
        </pc:sldLayoutChg>
        <pc:sldLayoutChg chg="delSp modSp del mod">
          <pc:chgData name="Johanna Marx" userId="f7883e6b-b8f5-49bd-97ed-29afbba9d34b" providerId="ADAL" clId="{BFF0D389-B892-4D7B-A975-B893E75C7785}" dt="2024-07-07T12:19:11.936" v="312" actId="47"/>
          <pc:sldLayoutMkLst>
            <pc:docMk/>
            <pc:sldMasterMk cId="0" sldId="2147483669"/>
            <pc:sldLayoutMk cId="0" sldId="2147483650"/>
          </pc:sldLayoutMkLst>
        </pc:sldLayoutChg>
        <pc:sldLayoutChg chg="addSp delSp modSp del mod">
          <pc:chgData name="Johanna Marx" userId="f7883e6b-b8f5-49bd-97ed-29afbba9d34b" providerId="ADAL" clId="{BFF0D389-B892-4D7B-A975-B893E75C7785}" dt="2024-07-07T12:48:17.570" v="1111" actId="47"/>
          <pc:sldLayoutMkLst>
            <pc:docMk/>
            <pc:sldMasterMk cId="0" sldId="2147483669"/>
            <pc:sldLayoutMk cId="0" sldId="2147483655"/>
          </pc:sldLayoutMkLst>
        </pc:sldLayoutChg>
        <pc:sldLayoutChg chg="addSp delSp modSp del mod">
          <pc:chgData name="Johanna Marx" userId="f7883e6b-b8f5-49bd-97ed-29afbba9d34b" providerId="ADAL" clId="{BFF0D389-B892-4D7B-A975-B893E75C7785}" dt="2024-07-11T10:32:10.611" v="13421" actId="47"/>
          <pc:sldLayoutMkLst>
            <pc:docMk/>
            <pc:sldMasterMk cId="0" sldId="2147483669"/>
            <pc:sldLayoutMk cId="0" sldId="2147483657"/>
          </pc:sldLayoutMkLst>
        </pc:sldLayoutChg>
        <pc:sldLayoutChg chg="del">
          <pc:chgData name="Johanna Marx" userId="f7883e6b-b8f5-49bd-97ed-29afbba9d34b" providerId="ADAL" clId="{BFF0D389-B892-4D7B-A975-B893E75C7785}" dt="2024-07-07T12:20:01.509" v="313" actId="47"/>
          <pc:sldLayoutMkLst>
            <pc:docMk/>
            <pc:sldMasterMk cId="0" sldId="2147483669"/>
            <pc:sldLayoutMk cId="0" sldId="2147483658"/>
          </pc:sldLayoutMkLst>
        </pc:sldLayoutChg>
        <pc:sldLayoutChg chg="addSp modSp del mod">
          <pc:chgData name="Johanna Marx" userId="f7883e6b-b8f5-49bd-97ed-29afbba9d34b" providerId="ADAL" clId="{BFF0D389-B892-4D7B-A975-B893E75C7785}" dt="2024-07-07T12:48:30.733" v="1112" actId="47"/>
          <pc:sldLayoutMkLst>
            <pc:docMk/>
            <pc:sldMasterMk cId="0" sldId="2147483669"/>
            <pc:sldLayoutMk cId="0" sldId="2147483659"/>
          </pc:sldLayoutMkLst>
        </pc:sldLayoutChg>
        <pc:sldLayoutChg chg="addSp modSp del mod">
          <pc:chgData name="Johanna Marx" userId="f7883e6b-b8f5-49bd-97ed-29afbba9d34b" providerId="ADAL" clId="{BFF0D389-B892-4D7B-A975-B893E75C7785}" dt="2024-07-11T10:32:01.240" v="13417" actId="47"/>
          <pc:sldLayoutMkLst>
            <pc:docMk/>
            <pc:sldMasterMk cId="0" sldId="2147483669"/>
            <pc:sldLayoutMk cId="0" sldId="2147483664"/>
          </pc:sldLayoutMkLst>
        </pc:sldLayoutChg>
        <pc:sldLayoutChg chg="addSp delSp modSp mod">
          <pc:chgData name="Johanna Marx" userId="f7883e6b-b8f5-49bd-97ed-29afbba9d34b" providerId="ADAL" clId="{BFF0D389-B892-4D7B-A975-B893E75C7785}" dt="2024-07-11T10:02:15.290" v="13163" actId="735"/>
          <pc:sldLayoutMkLst>
            <pc:docMk/>
            <pc:sldMasterMk cId="0" sldId="2147483669"/>
            <pc:sldLayoutMk cId="0" sldId="2147483670"/>
          </pc:sldLayoutMkLst>
        </pc:sldLayoutChg>
        <pc:sldLayoutChg chg="addSp modSp mod">
          <pc:chgData name="Johanna Marx" userId="f7883e6b-b8f5-49bd-97ed-29afbba9d34b" providerId="ADAL" clId="{BFF0D389-B892-4D7B-A975-B893E75C7785}" dt="2024-07-07T12:45:55.136" v="978"/>
          <pc:sldLayoutMkLst>
            <pc:docMk/>
            <pc:sldMasterMk cId="0" sldId="2147483669"/>
            <pc:sldLayoutMk cId="0" sldId="2147483671"/>
          </pc:sldLayoutMkLst>
        </pc:sldLayoutChg>
        <pc:sldLayoutChg chg="addSp delSp modSp mod">
          <pc:chgData name="Johanna Marx" userId="f7883e6b-b8f5-49bd-97ed-29afbba9d34b" providerId="ADAL" clId="{BFF0D389-B892-4D7B-A975-B893E75C7785}" dt="2024-07-07T12:45:56.938" v="979"/>
          <pc:sldLayoutMkLst>
            <pc:docMk/>
            <pc:sldMasterMk cId="0" sldId="2147483669"/>
            <pc:sldLayoutMk cId="0" sldId="2147483672"/>
          </pc:sldLayoutMkLst>
        </pc:sldLayoutChg>
        <pc:sldLayoutChg chg="addSp delSp modSp mod">
          <pc:chgData name="Johanna Marx" userId="f7883e6b-b8f5-49bd-97ed-29afbba9d34b" providerId="ADAL" clId="{BFF0D389-B892-4D7B-A975-B893E75C7785}" dt="2024-07-07T12:45:59.600" v="980"/>
          <pc:sldLayoutMkLst>
            <pc:docMk/>
            <pc:sldMasterMk cId="0" sldId="2147483669"/>
            <pc:sldLayoutMk cId="0" sldId="2147483673"/>
          </pc:sldLayoutMkLst>
        </pc:sldLayoutChg>
        <pc:sldLayoutChg chg="addSp delSp modSp mod">
          <pc:chgData name="Johanna Marx" userId="f7883e6b-b8f5-49bd-97ed-29afbba9d34b" providerId="ADAL" clId="{BFF0D389-B892-4D7B-A975-B893E75C7785}" dt="2024-07-07T12:46:43.974" v="1025" actId="1035"/>
          <pc:sldLayoutMkLst>
            <pc:docMk/>
            <pc:sldMasterMk cId="0" sldId="2147483669"/>
            <pc:sldLayoutMk cId="0" sldId="2147483674"/>
          </pc:sldLayoutMkLst>
        </pc:sldLayoutChg>
        <pc:sldLayoutChg chg="addSp modSp">
          <pc:chgData name="Johanna Marx" userId="f7883e6b-b8f5-49bd-97ed-29afbba9d34b" providerId="ADAL" clId="{BFF0D389-B892-4D7B-A975-B893E75C7785}" dt="2024-07-11T09:54:46.335" v="13099" actId="735"/>
          <pc:sldLayoutMkLst>
            <pc:docMk/>
            <pc:sldMasterMk cId="0" sldId="2147483669"/>
            <pc:sldLayoutMk cId="0" sldId="2147483675"/>
          </pc:sldLayoutMkLst>
        </pc:sldLayoutChg>
        <pc:sldLayoutChg chg="addSp modSp mod">
          <pc:chgData name="Johanna Marx" userId="f7883e6b-b8f5-49bd-97ed-29afbba9d34b" providerId="ADAL" clId="{BFF0D389-B892-4D7B-A975-B893E75C7785}" dt="2024-07-07T12:46:13.222" v="986"/>
          <pc:sldLayoutMkLst>
            <pc:docMk/>
            <pc:sldMasterMk cId="0" sldId="2147483669"/>
            <pc:sldLayoutMk cId="0" sldId="2147483676"/>
          </pc:sldLayoutMkLst>
        </pc:sldLayoutChg>
        <pc:sldLayoutChg chg="addSp delSp modSp mod">
          <pc:chgData name="Johanna Marx" userId="f7883e6b-b8f5-49bd-97ed-29afbba9d34b" providerId="ADAL" clId="{BFF0D389-B892-4D7B-A975-B893E75C7785}" dt="2024-07-07T12:47:39.584" v="1108" actId="1035"/>
          <pc:sldLayoutMkLst>
            <pc:docMk/>
            <pc:sldMasterMk cId="0" sldId="2147483669"/>
            <pc:sldLayoutMk cId="0" sldId="2147483677"/>
          </pc:sldLayoutMkLst>
        </pc:sldLayoutChg>
        <pc:sldLayoutChg chg="addSp modSp mod">
          <pc:chgData name="Johanna Marx" userId="f7883e6b-b8f5-49bd-97ed-29afbba9d34b" providerId="ADAL" clId="{BFF0D389-B892-4D7B-A975-B893E75C7785}" dt="2024-07-07T13:13:07.048" v="1824" actId="1036"/>
          <pc:sldLayoutMkLst>
            <pc:docMk/>
            <pc:sldMasterMk cId="0" sldId="2147483669"/>
            <pc:sldLayoutMk cId="0" sldId="2147483678"/>
          </pc:sldLayoutMkLst>
        </pc:sldLayoutChg>
        <pc:sldLayoutChg chg="addSp delSp modSp mod">
          <pc:chgData name="Johanna Marx" userId="f7883e6b-b8f5-49bd-97ed-29afbba9d34b" providerId="ADAL" clId="{BFF0D389-B892-4D7B-A975-B893E75C7785}" dt="2024-07-11T09:59:58.397" v="13148" actId="735"/>
          <pc:sldLayoutMkLst>
            <pc:docMk/>
            <pc:sldMasterMk cId="0" sldId="2147483669"/>
            <pc:sldLayoutMk cId="0" sldId="2147483679"/>
          </pc:sldLayoutMkLst>
        </pc:sldLayoutChg>
        <pc:sldLayoutChg chg="addSp delSp modSp mod">
          <pc:chgData name="Johanna Marx" userId="f7883e6b-b8f5-49bd-97ed-29afbba9d34b" providerId="ADAL" clId="{BFF0D389-B892-4D7B-A975-B893E75C7785}" dt="2024-07-07T12:46:22.825" v="991"/>
          <pc:sldLayoutMkLst>
            <pc:docMk/>
            <pc:sldMasterMk cId="0" sldId="2147483669"/>
            <pc:sldLayoutMk cId="0" sldId="2147483680"/>
          </pc:sldLayoutMkLst>
        </pc:sldLayoutChg>
        <pc:sldLayoutChg chg="addSp delSp modSp mod">
          <pc:chgData name="Johanna Marx" userId="f7883e6b-b8f5-49bd-97ed-29afbba9d34b" providerId="ADAL" clId="{BFF0D389-B892-4D7B-A975-B893E75C7785}" dt="2024-07-07T12:46:24.249" v="992"/>
          <pc:sldLayoutMkLst>
            <pc:docMk/>
            <pc:sldMasterMk cId="0" sldId="2147483669"/>
            <pc:sldLayoutMk cId="0" sldId="2147483681"/>
          </pc:sldLayoutMkLst>
        </pc:sldLayoutChg>
      </pc:sldMasterChg>
    </pc:docChg>
  </pc:docChgLst>
  <pc:docChgLst>
    <pc:chgData name="Sefa Sert" userId="S::sefa.sert@tum.de::efd7ad94-999b-4a47-9386-fda6558aa00c" providerId="AD" clId="Web-{5D4A7724-1223-A5BC-73B1-50FFC24389EE}"/>
    <pc:docChg chg="sldOrd">
      <pc:chgData name="Sefa Sert" userId="S::sefa.sert@tum.de::efd7ad94-999b-4a47-9386-fda6558aa00c" providerId="AD" clId="Web-{5D4A7724-1223-A5BC-73B1-50FFC24389EE}" dt="2024-07-15T16:37:36.052" v="1"/>
      <pc:docMkLst>
        <pc:docMk/>
      </pc:docMkLst>
      <pc:sldChg chg="ord">
        <pc:chgData name="Sefa Sert" userId="S::sefa.sert@tum.de::efd7ad94-999b-4a47-9386-fda6558aa00c" providerId="AD" clId="Web-{5D4A7724-1223-A5BC-73B1-50FFC24389EE}" dt="2024-07-15T16:37:36.052" v="1"/>
        <pc:sldMkLst>
          <pc:docMk/>
          <pc:sldMk cId="284084864" sldId="350"/>
        </pc:sldMkLst>
      </pc:sldChg>
    </pc:docChg>
  </pc:docChgLst>
  <pc:docChgLst>
    <pc:chgData name="Aly Barakat" userId="S::aly.barakat@tum.de::59442ab7-ba36-4d6f-8096-0727d85e2b9f" providerId="AD" clId="Web-{CF3B133F-3F0F-1DE4-1F42-C78244F65346}"/>
    <pc:docChg chg="modSld">
      <pc:chgData name="Aly Barakat" userId="S::aly.barakat@tum.de::59442ab7-ba36-4d6f-8096-0727d85e2b9f" providerId="AD" clId="Web-{CF3B133F-3F0F-1DE4-1F42-C78244F65346}" dt="2024-07-12T13:08:16.467" v="0"/>
      <pc:docMkLst>
        <pc:docMk/>
      </pc:docMkLst>
      <pc:sldChg chg="delSp">
        <pc:chgData name="Aly Barakat" userId="S::aly.barakat@tum.de::59442ab7-ba36-4d6f-8096-0727d85e2b9f" providerId="AD" clId="Web-{CF3B133F-3F0F-1DE4-1F42-C78244F65346}" dt="2024-07-12T13:08:16.467" v="0"/>
        <pc:sldMkLst>
          <pc:docMk/>
          <pc:sldMk cId="1263294924" sldId="330"/>
        </pc:sldMkLst>
      </pc:sldChg>
    </pc:docChg>
  </pc:docChgLst>
  <pc:docChgLst>
    <pc:chgData name="Sefa Sert" userId="efd7ad94-999b-4a47-9386-fda6558aa00c" providerId="ADAL" clId="{B752BB18-B4A2-4C12-A748-B27C67D17120}"/>
    <pc:docChg chg="undo redo custSel addSld delSld modSld sldOrd modSection">
      <pc:chgData name="Sefa Sert" userId="efd7ad94-999b-4a47-9386-fda6558aa00c" providerId="ADAL" clId="{B752BB18-B4A2-4C12-A748-B27C67D17120}" dt="2024-07-17T00:36:53.980" v="4397" actId="1035"/>
      <pc:docMkLst>
        <pc:docMk/>
      </pc:docMkLst>
      <pc:sldChg chg="modSp mod">
        <pc:chgData name="Sefa Sert" userId="efd7ad94-999b-4a47-9386-fda6558aa00c" providerId="ADAL" clId="{B752BB18-B4A2-4C12-A748-B27C67D17120}" dt="2024-07-16T21:38:18.846" v="686" actId="1076"/>
        <pc:sldMkLst>
          <pc:docMk/>
          <pc:sldMk cId="2740505906" sldId="343"/>
        </pc:sldMkLst>
      </pc:sldChg>
      <pc:sldChg chg="addSp delSp modSp mod">
        <pc:chgData name="Sefa Sert" userId="efd7ad94-999b-4a47-9386-fda6558aa00c" providerId="ADAL" clId="{B752BB18-B4A2-4C12-A748-B27C67D17120}" dt="2024-07-16T21:43:19.102" v="794" actId="1076"/>
        <pc:sldMkLst>
          <pc:docMk/>
          <pc:sldMk cId="4291341608" sldId="344"/>
        </pc:sldMkLst>
      </pc:sldChg>
      <pc:sldChg chg="addSp delSp modSp mod">
        <pc:chgData name="Sefa Sert" userId="efd7ad94-999b-4a47-9386-fda6558aa00c" providerId="ADAL" clId="{B752BB18-B4A2-4C12-A748-B27C67D17120}" dt="2024-07-16T21:43:51.557" v="827" actId="1035"/>
        <pc:sldMkLst>
          <pc:docMk/>
          <pc:sldMk cId="2497767716" sldId="345"/>
        </pc:sldMkLst>
      </pc:sldChg>
      <pc:sldChg chg="addSp delSp modSp del mod">
        <pc:chgData name="Sefa Sert" userId="efd7ad94-999b-4a47-9386-fda6558aa00c" providerId="ADAL" clId="{B752BB18-B4A2-4C12-A748-B27C67D17120}" dt="2024-07-16T21:42:41.926" v="790" actId="47"/>
        <pc:sldMkLst>
          <pc:docMk/>
          <pc:sldMk cId="386974616" sldId="346"/>
        </pc:sldMkLst>
      </pc:sldChg>
      <pc:sldChg chg="del">
        <pc:chgData name="Sefa Sert" userId="efd7ad94-999b-4a47-9386-fda6558aa00c" providerId="ADAL" clId="{B752BB18-B4A2-4C12-A748-B27C67D17120}" dt="2024-07-16T21:46:19.411" v="900" actId="47"/>
        <pc:sldMkLst>
          <pc:docMk/>
          <pc:sldMk cId="3719124343" sldId="347"/>
        </pc:sldMkLst>
      </pc:sldChg>
      <pc:sldChg chg="modSp mod">
        <pc:chgData name="Sefa Sert" userId="efd7ad94-999b-4a47-9386-fda6558aa00c" providerId="ADAL" clId="{B752BB18-B4A2-4C12-A748-B27C67D17120}" dt="2024-07-16T21:53:59.071" v="1032" actId="14100"/>
        <pc:sldMkLst>
          <pc:docMk/>
          <pc:sldMk cId="1464927690" sldId="348"/>
        </pc:sldMkLst>
      </pc:sldChg>
      <pc:sldChg chg="addSp delSp modSp mod ord">
        <pc:chgData name="Sefa Sert" userId="efd7ad94-999b-4a47-9386-fda6558aa00c" providerId="ADAL" clId="{B752BB18-B4A2-4C12-A748-B27C67D17120}" dt="2024-07-16T23:55:25.883" v="3586" actId="1036"/>
        <pc:sldMkLst>
          <pc:docMk/>
          <pc:sldMk cId="1933968534" sldId="349"/>
        </pc:sldMkLst>
      </pc:sldChg>
      <pc:sldChg chg="addSp delSp modSp mod">
        <pc:chgData name="Sefa Sert" userId="efd7ad94-999b-4a47-9386-fda6558aa00c" providerId="ADAL" clId="{B752BB18-B4A2-4C12-A748-B27C67D17120}" dt="2024-07-16T22:38:39.512" v="2297" actId="14734"/>
        <pc:sldMkLst>
          <pc:docMk/>
          <pc:sldMk cId="284084864" sldId="350"/>
        </pc:sldMkLst>
      </pc:sldChg>
      <pc:sldChg chg="addSp delSp modSp add del mod">
        <pc:chgData name="Sefa Sert" userId="efd7ad94-999b-4a47-9386-fda6558aa00c" providerId="ADAL" clId="{B752BB18-B4A2-4C12-A748-B27C67D17120}" dt="2024-07-16T22:12:07.556" v="1696" actId="14734"/>
        <pc:sldMkLst>
          <pc:docMk/>
          <pc:sldMk cId="736897047" sldId="355"/>
        </pc:sldMkLst>
      </pc:sldChg>
      <pc:sldChg chg="addSp delSp modSp add mod">
        <pc:chgData name="Sefa Sert" userId="efd7ad94-999b-4a47-9386-fda6558aa00c" providerId="ADAL" clId="{B752BB18-B4A2-4C12-A748-B27C67D17120}" dt="2024-07-16T22:59:57.917" v="2786" actId="20577"/>
        <pc:sldMkLst>
          <pc:docMk/>
          <pc:sldMk cId="828749288" sldId="356"/>
        </pc:sldMkLst>
      </pc:sldChg>
      <pc:sldChg chg="addSp delSp modSp add mod">
        <pc:chgData name="Sefa Sert" userId="efd7ad94-999b-4a47-9386-fda6558aa00c" providerId="ADAL" clId="{B752BB18-B4A2-4C12-A748-B27C67D17120}" dt="2024-07-16T23:14:40.415" v="3257" actId="1076"/>
        <pc:sldMkLst>
          <pc:docMk/>
          <pc:sldMk cId="1051582617" sldId="357"/>
        </pc:sldMkLst>
      </pc:sldChg>
      <pc:sldChg chg="new del">
        <pc:chgData name="Sefa Sert" userId="efd7ad94-999b-4a47-9386-fda6558aa00c" providerId="ADAL" clId="{B752BB18-B4A2-4C12-A748-B27C67D17120}" dt="2024-07-17T00:18:28.750" v="4156" actId="47"/>
        <pc:sldMkLst>
          <pc:docMk/>
          <pc:sldMk cId="2468068181" sldId="358"/>
        </pc:sldMkLst>
      </pc:sldChg>
      <pc:sldChg chg="addSp delSp modSp add mod ord">
        <pc:chgData name="Sefa Sert" userId="efd7ad94-999b-4a47-9386-fda6558aa00c" providerId="ADAL" clId="{B752BB18-B4A2-4C12-A748-B27C67D17120}" dt="2024-07-16T23:29:17.527" v="3424" actId="1076"/>
        <pc:sldMkLst>
          <pc:docMk/>
          <pc:sldMk cId="284211673" sldId="359"/>
        </pc:sldMkLst>
      </pc:sldChg>
      <pc:sldChg chg="addSp delSp modSp add mod ord">
        <pc:chgData name="Sefa Sert" userId="efd7ad94-999b-4a47-9386-fda6558aa00c" providerId="ADAL" clId="{B752BB18-B4A2-4C12-A748-B27C67D17120}" dt="2024-07-17T00:01:28.224" v="3592" actId="1076"/>
        <pc:sldMkLst>
          <pc:docMk/>
          <pc:sldMk cId="2478495603" sldId="360"/>
        </pc:sldMkLst>
      </pc:sldChg>
      <pc:sldChg chg="addSp delSp modSp add mod">
        <pc:chgData name="Sefa Sert" userId="efd7ad94-999b-4a47-9386-fda6558aa00c" providerId="ADAL" clId="{B752BB18-B4A2-4C12-A748-B27C67D17120}" dt="2024-07-16T23:18:27.531" v="3405" actId="1035"/>
        <pc:sldMkLst>
          <pc:docMk/>
          <pc:sldMk cId="2305601738" sldId="361"/>
        </pc:sldMkLst>
      </pc:sldChg>
      <pc:sldChg chg="addSp delSp modSp add mod">
        <pc:chgData name="Sefa Sert" userId="efd7ad94-999b-4a47-9386-fda6558aa00c" providerId="ADAL" clId="{B752BB18-B4A2-4C12-A748-B27C67D17120}" dt="2024-07-17T00:31:07.657" v="4259" actId="14100"/>
        <pc:sldMkLst>
          <pc:docMk/>
          <pc:sldMk cId="3347662735" sldId="362"/>
        </pc:sldMkLst>
      </pc:sldChg>
      <pc:sldChg chg="addSp delSp modSp add mod">
        <pc:chgData name="Sefa Sert" userId="efd7ad94-999b-4a47-9386-fda6558aa00c" providerId="ADAL" clId="{B752BB18-B4A2-4C12-A748-B27C67D17120}" dt="2024-07-17T00:31:17.360" v="4269" actId="20577"/>
        <pc:sldMkLst>
          <pc:docMk/>
          <pc:sldMk cId="1343127239" sldId="363"/>
        </pc:sldMkLst>
      </pc:sldChg>
      <pc:sldChg chg="addSp delSp modSp add mod ord">
        <pc:chgData name="Sefa Sert" userId="efd7ad94-999b-4a47-9386-fda6558aa00c" providerId="ADAL" clId="{B752BB18-B4A2-4C12-A748-B27C67D17120}" dt="2024-07-17T00:36:46.783" v="4393" actId="1035"/>
        <pc:sldMkLst>
          <pc:docMk/>
          <pc:sldMk cId="4283035542" sldId="364"/>
        </pc:sldMkLst>
      </pc:sldChg>
      <pc:sldChg chg="addSp delSp modSp add mod">
        <pc:chgData name="Sefa Sert" userId="efd7ad94-999b-4a47-9386-fda6558aa00c" providerId="ADAL" clId="{B752BB18-B4A2-4C12-A748-B27C67D17120}" dt="2024-07-17T00:36:53.980" v="4397" actId="1035"/>
        <pc:sldMkLst>
          <pc:docMk/>
          <pc:sldMk cId="3128357680" sldId="365"/>
        </pc:sldMkLst>
      </pc:sldChg>
    </pc:docChg>
  </pc:docChgLst>
  <pc:docChgLst>
    <pc:chgData name="Johanna Marx" userId="f7883e6b-b8f5-49bd-97ed-29afbba9d34b" providerId="ADAL" clId="{73F1F8C2-8FA6-4BA2-82C1-E9E39B7CB2E0}"/>
    <pc:docChg chg="undo custSel modSld">
      <pc:chgData name="Johanna Marx" userId="f7883e6b-b8f5-49bd-97ed-29afbba9d34b" providerId="ADAL" clId="{73F1F8C2-8FA6-4BA2-82C1-E9E39B7CB2E0}" dt="2024-07-17T18:51:46.821" v="276" actId="1076"/>
      <pc:docMkLst>
        <pc:docMk/>
      </pc:docMkLst>
      <pc:sldChg chg="addSp modSp mod">
        <pc:chgData name="Johanna Marx" userId="f7883e6b-b8f5-49bd-97ed-29afbba9d34b" providerId="ADAL" clId="{73F1F8C2-8FA6-4BA2-82C1-E9E39B7CB2E0}" dt="2024-07-17T18:43:40.708" v="215" actId="20577"/>
        <pc:sldMkLst>
          <pc:docMk/>
          <pc:sldMk cId="3807836379" sldId="292"/>
        </pc:sldMkLst>
      </pc:sldChg>
      <pc:sldChg chg="modSp mod">
        <pc:chgData name="Johanna Marx" userId="f7883e6b-b8f5-49bd-97ed-29afbba9d34b" providerId="ADAL" clId="{73F1F8C2-8FA6-4BA2-82C1-E9E39B7CB2E0}" dt="2024-07-17T18:39:56.083" v="136" actId="2711"/>
        <pc:sldMkLst>
          <pc:docMk/>
          <pc:sldMk cId="3642159981" sldId="294"/>
        </pc:sldMkLst>
      </pc:sldChg>
      <pc:sldChg chg="modSp mod">
        <pc:chgData name="Johanna Marx" userId="f7883e6b-b8f5-49bd-97ed-29afbba9d34b" providerId="ADAL" clId="{73F1F8C2-8FA6-4BA2-82C1-E9E39B7CB2E0}" dt="2024-07-17T18:49:39.768" v="248" actId="12"/>
        <pc:sldMkLst>
          <pc:docMk/>
          <pc:sldMk cId="2977954321" sldId="304"/>
        </pc:sldMkLst>
      </pc:sldChg>
      <pc:sldChg chg="modSp mod">
        <pc:chgData name="Johanna Marx" userId="f7883e6b-b8f5-49bd-97ed-29afbba9d34b" providerId="ADAL" clId="{73F1F8C2-8FA6-4BA2-82C1-E9E39B7CB2E0}" dt="2024-07-17T18:34:19.692" v="112" actId="6549"/>
        <pc:sldMkLst>
          <pc:docMk/>
          <pc:sldMk cId="1340192637" sldId="305"/>
        </pc:sldMkLst>
      </pc:sldChg>
      <pc:sldChg chg="modSp mod">
        <pc:chgData name="Johanna Marx" userId="f7883e6b-b8f5-49bd-97ed-29afbba9d34b" providerId="ADAL" clId="{73F1F8C2-8FA6-4BA2-82C1-E9E39B7CB2E0}" dt="2024-07-17T18:29:08.976" v="20" actId="20577"/>
        <pc:sldMkLst>
          <pc:docMk/>
          <pc:sldMk cId="2790215641" sldId="308"/>
        </pc:sldMkLst>
      </pc:sldChg>
      <pc:sldChg chg="modSp mod">
        <pc:chgData name="Johanna Marx" userId="f7883e6b-b8f5-49bd-97ed-29afbba9d34b" providerId="ADAL" clId="{73F1F8C2-8FA6-4BA2-82C1-E9E39B7CB2E0}" dt="2024-07-17T18:32:19.609" v="78" actId="1036"/>
        <pc:sldMkLst>
          <pc:docMk/>
          <pc:sldMk cId="767817792" sldId="314"/>
        </pc:sldMkLst>
      </pc:sldChg>
      <pc:sldChg chg="modSp mod">
        <pc:chgData name="Johanna Marx" userId="f7883e6b-b8f5-49bd-97ed-29afbba9d34b" providerId="ADAL" clId="{73F1F8C2-8FA6-4BA2-82C1-E9E39B7CB2E0}" dt="2024-07-17T18:28:06.247" v="13" actId="108"/>
        <pc:sldMkLst>
          <pc:docMk/>
          <pc:sldMk cId="1718109997" sldId="321"/>
        </pc:sldMkLst>
      </pc:sldChg>
      <pc:sldChg chg="delSp modSp mod">
        <pc:chgData name="Johanna Marx" userId="f7883e6b-b8f5-49bd-97ed-29afbba9d34b" providerId="ADAL" clId="{73F1F8C2-8FA6-4BA2-82C1-E9E39B7CB2E0}" dt="2024-07-17T18:51:46.821" v="276" actId="1076"/>
        <pc:sldMkLst>
          <pc:docMk/>
          <pc:sldMk cId="1347835055" sldId="366"/>
        </pc:sldMkLst>
      </pc:sldChg>
      <pc:sldChg chg="addSp modSp mod">
        <pc:chgData name="Johanna Marx" userId="f7883e6b-b8f5-49bd-97ed-29afbba9d34b" providerId="ADAL" clId="{73F1F8C2-8FA6-4BA2-82C1-E9E39B7CB2E0}" dt="2024-07-17T18:50:22.591" v="256" actId="1076"/>
        <pc:sldMkLst>
          <pc:docMk/>
          <pc:sldMk cId="1237709550" sldId="374"/>
        </pc:sldMkLst>
      </pc:sldChg>
      <pc:sldChg chg="modSp mod">
        <pc:chgData name="Johanna Marx" userId="f7883e6b-b8f5-49bd-97ed-29afbba9d34b" providerId="ADAL" clId="{73F1F8C2-8FA6-4BA2-82C1-E9E39B7CB2E0}" dt="2024-07-17T18:44:35.013" v="228" actId="20577"/>
        <pc:sldMkLst>
          <pc:docMk/>
          <pc:sldMk cId="2849113408" sldId="375"/>
        </pc:sldMkLst>
      </pc:sldChg>
    </pc:docChg>
  </pc:docChgLst>
  <pc:docChgLst>
    <pc:chgData name="Bianca Bacci" userId="S::ge72jah@tum.de::83bb2da2-bed4-4ef3-8a15-9eeec0e86db8" providerId="AD" clId="Web-{E47A13F1-C1B8-43D8-870C-67F50E596E9D}"/>
    <pc:docChg chg="modSld">
      <pc:chgData name="Bianca Bacci" userId="S::ge72jah@tum.de::83bb2da2-bed4-4ef3-8a15-9eeec0e86db8" providerId="AD" clId="Web-{E47A13F1-C1B8-43D8-870C-67F50E596E9D}" dt="2024-07-18T11:26:56.142" v="433" actId="20577"/>
      <pc:docMkLst>
        <pc:docMk/>
      </pc:docMkLst>
      <pc:sldChg chg="modSp">
        <pc:chgData name="Bianca Bacci" userId="S::ge72jah@tum.de::83bb2da2-bed4-4ef3-8a15-9eeec0e86db8" providerId="AD" clId="Web-{E47A13F1-C1B8-43D8-870C-67F50E596E9D}" dt="2024-07-18T11:23:04.338" v="224" actId="20577"/>
        <pc:sldMkLst>
          <pc:docMk/>
          <pc:sldMk cId="3553033900" sldId="287"/>
        </pc:sldMkLst>
      </pc:sldChg>
      <pc:sldChg chg="modSp">
        <pc:chgData name="Bianca Bacci" userId="S::ge72jah@tum.de::83bb2da2-bed4-4ef3-8a15-9eeec0e86db8" providerId="AD" clId="Web-{E47A13F1-C1B8-43D8-870C-67F50E596E9D}" dt="2024-07-18T11:26:56.142" v="433" actId="20577"/>
        <pc:sldMkLst>
          <pc:docMk/>
          <pc:sldMk cId="4270279149" sldId="384"/>
        </pc:sldMkLst>
      </pc:sldChg>
    </pc:docChg>
  </pc:docChgLst>
  <pc:docChgLst>
    <pc:chgData name="Luis Caro Delgado" userId="81c57fa2-c317-4e9d-b555-115c79435d2f" providerId="ADAL" clId="{B050B625-7E91-4104-8350-93C3CCADCA45}"/>
    <pc:docChg chg="modSld sldOrd">
      <pc:chgData name="Luis Caro Delgado" userId="81c57fa2-c317-4e9d-b555-115c79435d2f" providerId="ADAL" clId="{B050B625-7E91-4104-8350-93C3CCADCA45}" dt="2025-01-28T13:55:35.836" v="1"/>
      <pc:docMkLst>
        <pc:docMk/>
      </pc:docMkLst>
      <pc:sldChg chg="ord">
        <pc:chgData name="Luis Caro Delgado" userId="81c57fa2-c317-4e9d-b555-115c79435d2f" providerId="ADAL" clId="{B050B625-7E91-4104-8350-93C3CCADCA45}" dt="2025-01-28T13:55:35.836" v="1"/>
        <pc:sldMkLst>
          <pc:docMk/>
          <pc:sldMk cId="2577462896" sldId="380"/>
        </pc:sldMkLst>
      </pc:sldChg>
    </pc:docChg>
  </pc:docChgLst>
  <pc:docChgLst>
    <pc:chgData name="Nina Steger" userId="efda762e-901d-408b-befd-9a071afe5357" providerId="ADAL" clId="{E26D36BB-AAFD-CA48-BFF2-F53738353D0A}"/>
    <pc:docChg chg="undo custSel modSld">
      <pc:chgData name="Nina Steger" userId="efda762e-901d-408b-befd-9a071afe5357" providerId="ADAL" clId="{E26D36BB-AAFD-CA48-BFF2-F53738353D0A}" dt="2024-07-17T17:55:08.703" v="157" actId="20577"/>
      <pc:docMkLst>
        <pc:docMk/>
      </pc:docMkLst>
      <pc:sldChg chg="modSp mod">
        <pc:chgData name="Nina Steger" userId="efda762e-901d-408b-befd-9a071afe5357" providerId="ADAL" clId="{E26D36BB-AAFD-CA48-BFF2-F53738353D0A}" dt="2024-07-12T17:48:53.231" v="4" actId="20577"/>
        <pc:sldMkLst>
          <pc:docMk/>
          <pc:sldMk cId="3909716140" sldId="289"/>
        </pc:sldMkLst>
      </pc:sldChg>
      <pc:sldChg chg="addSp delSp modSp mod">
        <pc:chgData name="Nina Steger" userId="efda762e-901d-408b-befd-9a071afe5357" providerId="ADAL" clId="{E26D36BB-AAFD-CA48-BFF2-F53738353D0A}" dt="2024-07-17T17:48:25.318" v="93" actId="108"/>
        <pc:sldMkLst>
          <pc:docMk/>
          <pc:sldMk cId="3118018366" sldId="291"/>
        </pc:sldMkLst>
      </pc:sldChg>
      <pc:sldChg chg="modSp mod">
        <pc:chgData name="Nina Steger" userId="efda762e-901d-408b-befd-9a071afe5357" providerId="ADAL" clId="{E26D36BB-AAFD-CA48-BFF2-F53738353D0A}" dt="2024-07-12T17:53:16.120" v="9" actId="20577"/>
        <pc:sldMkLst>
          <pc:docMk/>
          <pc:sldMk cId="3807836379" sldId="292"/>
        </pc:sldMkLst>
      </pc:sldChg>
      <pc:sldChg chg="modSp mod">
        <pc:chgData name="Nina Steger" userId="efda762e-901d-408b-befd-9a071afe5357" providerId="ADAL" clId="{E26D36BB-AAFD-CA48-BFF2-F53738353D0A}" dt="2024-07-17T17:48:18.721" v="92" actId="113"/>
        <pc:sldMkLst>
          <pc:docMk/>
          <pc:sldMk cId="1360738081" sldId="295"/>
        </pc:sldMkLst>
      </pc:sldChg>
      <pc:sldChg chg="modSp mod">
        <pc:chgData name="Nina Steger" userId="efda762e-901d-408b-befd-9a071afe5357" providerId="ADAL" clId="{E26D36BB-AAFD-CA48-BFF2-F53738353D0A}" dt="2024-07-12T18:18:21.412" v="28" actId="20577"/>
        <pc:sldMkLst>
          <pc:docMk/>
          <pc:sldMk cId="3143837598" sldId="300"/>
        </pc:sldMkLst>
      </pc:sldChg>
      <pc:sldChg chg="modSp mod">
        <pc:chgData name="Nina Steger" userId="efda762e-901d-408b-befd-9a071afe5357" providerId="ADAL" clId="{E26D36BB-AAFD-CA48-BFF2-F53738353D0A}" dt="2024-07-17T17:50:47.672" v="123" actId="20577"/>
        <pc:sldMkLst>
          <pc:docMk/>
          <pc:sldMk cId="855508414" sldId="301"/>
        </pc:sldMkLst>
      </pc:sldChg>
      <pc:sldChg chg="modSp mod">
        <pc:chgData name="Nina Steger" userId="efda762e-901d-408b-befd-9a071afe5357" providerId="ADAL" clId="{E26D36BB-AAFD-CA48-BFF2-F53738353D0A}" dt="2024-07-17T17:49:02.220" v="105" actId="1076"/>
        <pc:sldMkLst>
          <pc:docMk/>
          <pc:sldMk cId="3109028800" sldId="306"/>
        </pc:sldMkLst>
      </pc:sldChg>
      <pc:sldChg chg="modSp mod">
        <pc:chgData name="Nina Steger" userId="efda762e-901d-408b-befd-9a071afe5357" providerId="ADAL" clId="{E26D36BB-AAFD-CA48-BFF2-F53738353D0A}" dt="2024-07-12T18:02:38.095" v="26" actId="179"/>
        <pc:sldMkLst>
          <pc:docMk/>
          <pc:sldMk cId="2790215641" sldId="308"/>
        </pc:sldMkLst>
      </pc:sldChg>
      <pc:sldChg chg="modSp mod">
        <pc:chgData name="Nina Steger" userId="efda762e-901d-408b-befd-9a071afe5357" providerId="ADAL" clId="{E26D36BB-AAFD-CA48-BFF2-F53738353D0A}" dt="2024-07-13T16:19:13.165" v="29" actId="1076"/>
        <pc:sldMkLst>
          <pc:docMk/>
          <pc:sldMk cId="3420601596" sldId="315"/>
        </pc:sldMkLst>
      </pc:sldChg>
      <pc:sldChg chg="modCm">
        <pc:chgData name="Nina Steger" userId="efda762e-901d-408b-befd-9a071afe5357" providerId="ADAL" clId="{E26D36BB-AAFD-CA48-BFF2-F53738353D0A}" dt="2024-07-17T17:10:37.064" v="30" actId="2056"/>
        <pc:sldMkLst>
          <pc:docMk/>
          <pc:sldMk cId="1126850562" sldId="317"/>
        </pc:sldMkLst>
        <pc:extLst>
          <p:ext xmlns:p="http://schemas.openxmlformats.org/presentationml/2006/main" uri="{D6D511B9-2390-475A-947B-AFAB55BFBCF1}">
            <pc226:cmChg xmlns:pc226="http://schemas.microsoft.com/office/powerpoint/2022/06/main/command" chg="mod">
              <pc226:chgData name="Nina Steger" userId="efda762e-901d-408b-befd-9a071afe5357" providerId="ADAL" clId="{E26D36BB-AAFD-CA48-BFF2-F53738353D0A}" dt="2024-07-17T17:10:37.064" v="30" actId="2056"/>
              <pc2:cmMkLst xmlns:pc2="http://schemas.microsoft.com/office/powerpoint/2019/9/main/command">
                <pc:docMk/>
                <pc:sldMk cId="1126850562" sldId="317"/>
                <pc2:cmMk id="{BC01B87E-690F-46EC-80C3-F27115905BD7}"/>
              </pc2:cmMkLst>
            </pc226:cmChg>
            <pc226:cmChg xmlns:pc226="http://schemas.microsoft.com/office/powerpoint/2022/06/main/command" chg="mod">
              <pc226:chgData name="Nina Steger" userId="efda762e-901d-408b-befd-9a071afe5357" providerId="ADAL" clId="{E26D36BB-AAFD-CA48-BFF2-F53738353D0A}" dt="2024-07-17T17:10:37.064" v="30" actId="2056"/>
              <pc2:cmMkLst xmlns:pc2="http://schemas.microsoft.com/office/powerpoint/2019/9/main/command">
                <pc:docMk/>
                <pc:sldMk cId="1126850562" sldId="317"/>
                <pc2:cmMk id="{0DE0CADC-1697-4306-B606-ACAEDB63640B}"/>
              </pc2:cmMkLst>
            </pc226:cmChg>
          </p:ext>
        </pc:extLst>
      </pc:sldChg>
      <pc:sldChg chg="modSp mod">
        <pc:chgData name="Nina Steger" userId="efda762e-901d-408b-befd-9a071afe5357" providerId="ADAL" clId="{E26D36BB-AAFD-CA48-BFF2-F53738353D0A}" dt="2024-07-17T17:55:08.703" v="157" actId="20577"/>
        <pc:sldMkLst>
          <pc:docMk/>
          <pc:sldMk cId="1662382075" sldId="367"/>
        </pc:sldMkLst>
      </pc:sldChg>
    </pc:docChg>
  </pc:docChgLst>
  <pc:docChgLst>
    <pc:chgData name="Nina Steger" userId="efda762e-901d-408b-befd-9a071afe5357" providerId="ADAL" clId="{752EB74A-7AB7-224A-B376-BD09E7A0910E}"/>
    <pc:docChg chg="custSel modSld">
      <pc:chgData name="Nina Steger" userId="efda762e-901d-408b-befd-9a071afe5357" providerId="ADAL" clId="{752EB74A-7AB7-224A-B376-BD09E7A0910E}" dt="2024-07-17T18:51:25.512" v="218" actId="113"/>
      <pc:docMkLst>
        <pc:docMk/>
      </pc:docMkLst>
      <pc:sldChg chg="addSp modSp mod">
        <pc:chgData name="Nina Steger" userId="efda762e-901d-408b-befd-9a071afe5357" providerId="ADAL" clId="{752EB74A-7AB7-224A-B376-BD09E7A0910E}" dt="2024-07-17T18:50:54.585" v="212" actId="113"/>
        <pc:sldMkLst>
          <pc:docMk/>
          <pc:sldMk cId="1836807439" sldId="290"/>
        </pc:sldMkLst>
      </pc:sldChg>
      <pc:sldChg chg="addSp modSp mod">
        <pc:chgData name="Nina Steger" userId="efda762e-901d-408b-befd-9a071afe5357" providerId="ADAL" clId="{752EB74A-7AB7-224A-B376-BD09E7A0910E}" dt="2024-07-17T18:32:50.681" v="88" actId="14100"/>
        <pc:sldMkLst>
          <pc:docMk/>
          <pc:sldMk cId="1997358788" sldId="297"/>
        </pc:sldMkLst>
      </pc:sldChg>
      <pc:sldChg chg="addSp delSp modSp mod">
        <pc:chgData name="Nina Steger" userId="efda762e-901d-408b-befd-9a071afe5357" providerId="ADAL" clId="{752EB74A-7AB7-224A-B376-BD09E7A0910E}" dt="2024-07-17T18:51:25.512" v="218" actId="113"/>
        <pc:sldMkLst>
          <pc:docMk/>
          <pc:sldMk cId="1054077313" sldId="312"/>
        </pc:sldMkLst>
      </pc:sldChg>
    </pc:docChg>
  </pc:docChgLst>
  <pc:docChgLst>
    <pc:chgData name="Eva Reißner" userId="69eeba62-a39b-4c77-8010-7e75a3ee4230" providerId="ADAL" clId="{FDF6EB7D-1A07-4BCF-BDE3-CC6E35820E01}"/>
    <pc:docChg chg="undo custSel addSld delSld modSld modSection">
      <pc:chgData name="Eva Reißner" userId="69eeba62-a39b-4c77-8010-7e75a3ee4230" providerId="ADAL" clId="{FDF6EB7D-1A07-4BCF-BDE3-CC6E35820E01}" dt="2024-07-18T07:39:34.634" v="851" actId="47"/>
      <pc:docMkLst>
        <pc:docMk/>
      </pc:docMkLst>
      <pc:sldChg chg="addSp modSp mod">
        <pc:chgData name="Eva Reißner" userId="69eeba62-a39b-4c77-8010-7e75a3ee4230" providerId="ADAL" clId="{FDF6EB7D-1A07-4BCF-BDE3-CC6E35820E01}" dt="2024-07-17T18:28:15.628" v="58" actId="1036"/>
        <pc:sldMkLst>
          <pc:docMk/>
          <pc:sldMk cId="3573279774" sldId="286"/>
        </pc:sldMkLst>
      </pc:sldChg>
      <pc:sldChg chg="delSp mod">
        <pc:chgData name="Eva Reißner" userId="69eeba62-a39b-4c77-8010-7e75a3ee4230" providerId="ADAL" clId="{FDF6EB7D-1A07-4BCF-BDE3-CC6E35820E01}" dt="2024-07-17T18:29:05.491" v="59" actId="478"/>
        <pc:sldMkLst>
          <pc:docMk/>
          <pc:sldMk cId="3553033900" sldId="287"/>
        </pc:sldMkLst>
      </pc:sldChg>
      <pc:sldChg chg="addSp modSp del mod">
        <pc:chgData name="Eva Reißner" userId="69eeba62-a39b-4c77-8010-7e75a3ee4230" providerId="ADAL" clId="{FDF6EB7D-1A07-4BCF-BDE3-CC6E35820E01}" dt="2024-07-18T07:39:31.966" v="850" actId="47"/>
        <pc:sldMkLst>
          <pc:docMk/>
          <pc:sldMk cId="2977954321" sldId="304"/>
        </pc:sldMkLst>
      </pc:sldChg>
      <pc:sldChg chg="addSp delSp modSp mod">
        <pc:chgData name="Eva Reißner" userId="69eeba62-a39b-4c77-8010-7e75a3ee4230" providerId="ADAL" clId="{FDF6EB7D-1A07-4BCF-BDE3-CC6E35820E01}" dt="2024-07-17T18:26:35.650" v="35" actId="14100"/>
        <pc:sldMkLst>
          <pc:docMk/>
          <pc:sldMk cId="3420601596" sldId="315"/>
        </pc:sldMkLst>
      </pc:sldChg>
      <pc:sldChg chg="addSp delSp modSp del mod">
        <pc:chgData name="Eva Reißner" userId="69eeba62-a39b-4c77-8010-7e75a3ee4230" providerId="ADAL" clId="{FDF6EB7D-1A07-4BCF-BDE3-CC6E35820E01}" dt="2024-07-18T07:39:34.634" v="851" actId="47"/>
        <pc:sldMkLst>
          <pc:docMk/>
          <pc:sldMk cId="1347835055" sldId="366"/>
        </pc:sldMkLst>
      </pc:sldChg>
      <pc:sldChg chg="addSp delSp modSp del mod">
        <pc:chgData name="Eva Reißner" userId="69eeba62-a39b-4c77-8010-7e75a3ee4230" providerId="ADAL" clId="{FDF6EB7D-1A07-4BCF-BDE3-CC6E35820E01}" dt="2024-07-18T07:39:23.175" v="849" actId="47"/>
        <pc:sldMkLst>
          <pc:docMk/>
          <pc:sldMk cId="1237709550" sldId="374"/>
        </pc:sldMkLst>
      </pc:sldChg>
      <pc:sldChg chg="modSp add mod">
        <pc:chgData name="Eva Reißner" userId="69eeba62-a39b-4c77-8010-7e75a3ee4230" providerId="ADAL" clId="{FDF6EB7D-1A07-4BCF-BDE3-CC6E35820E01}" dt="2024-07-18T07:39:17.684" v="848"/>
        <pc:sldMkLst>
          <pc:docMk/>
          <pc:sldMk cId="4270279149" sldId="384"/>
        </pc:sldMkLst>
      </pc:sldChg>
      <pc:sldChg chg="modSp add mod">
        <pc:chgData name="Eva Reißner" userId="69eeba62-a39b-4c77-8010-7e75a3ee4230" providerId="ADAL" clId="{FDF6EB7D-1A07-4BCF-BDE3-CC6E35820E01}" dt="2024-07-18T07:38:11.670" v="845"/>
        <pc:sldMkLst>
          <pc:docMk/>
          <pc:sldMk cId="3575259689" sldId="385"/>
        </pc:sldMkLst>
      </pc:sldChg>
      <pc:sldChg chg="add">
        <pc:chgData name="Eva Reißner" userId="69eeba62-a39b-4c77-8010-7e75a3ee4230" providerId="ADAL" clId="{FDF6EB7D-1A07-4BCF-BDE3-CC6E35820E01}" dt="2024-07-18T07:36:11.367" v="831"/>
        <pc:sldMkLst>
          <pc:docMk/>
          <pc:sldMk cId="2271628823" sldId="386"/>
        </pc:sldMkLst>
      </pc:sldChg>
    </pc:docChg>
  </pc:docChgLst>
  <pc:docChgLst>
    <pc:chgData name="Nina Steger" userId="S::nina.steger@tum.de::efda762e-901d-408b-befd-9a071afe5357" providerId="AD" clId="Web-{C595C021-A056-8CC9-F90C-6682A4B32243}"/>
    <pc:docChg chg="mod modSld">
      <pc:chgData name="Nina Steger" userId="S::nina.steger@tum.de::efda762e-901d-408b-befd-9a071afe5357" providerId="AD" clId="Web-{C595C021-A056-8CC9-F90C-6682A4B32243}" dt="2024-07-17T16:50:57.983" v="98"/>
      <pc:docMkLst>
        <pc:docMk/>
      </pc:docMkLst>
      <pc:sldChg chg="addSp delSp modSp">
        <pc:chgData name="Nina Steger" userId="S::nina.steger@tum.de::efda762e-901d-408b-befd-9a071afe5357" providerId="AD" clId="Web-{C595C021-A056-8CC9-F90C-6682A4B32243}" dt="2024-07-17T16:46:07.272" v="93" actId="20577"/>
        <pc:sldMkLst>
          <pc:docMk/>
          <pc:sldMk cId="1126850562" sldId="317"/>
        </pc:sldMkLst>
      </pc:sldChg>
      <pc:sldChg chg="addSp modSp">
        <pc:chgData name="Nina Steger" userId="S::nina.steger@tum.de::efda762e-901d-408b-befd-9a071afe5357" providerId="AD" clId="Web-{C595C021-A056-8CC9-F90C-6682A4B32243}" dt="2024-07-17T16:50:57.983" v="98"/>
        <pc:sldMkLst>
          <pc:docMk/>
          <pc:sldMk cId="1910569066" sldId="323"/>
        </pc:sldMkLst>
      </pc:sldChg>
      <pc:sldChg chg="modSp addCm">
        <pc:chgData name="Nina Steger" userId="S::nina.steger@tum.de::efda762e-901d-408b-befd-9a071afe5357" providerId="AD" clId="Web-{C595C021-A056-8CC9-F90C-6682A4B32243}" dt="2024-07-17T16:25:44.486" v="45"/>
        <pc:sldMkLst>
          <pc:docMk/>
          <pc:sldMk cId="3782668847" sldId="325"/>
        </pc:sldMkLst>
        <pc:extLst>
          <p:ext xmlns:p="http://schemas.openxmlformats.org/presentationml/2006/main" uri="{D6D511B9-2390-475A-947B-AFAB55BFBCF1}">
            <pc226:cmChg xmlns:pc226="http://schemas.microsoft.com/office/powerpoint/2022/06/main/command" chg="add">
              <pc226:chgData name="Nina Steger" userId="S::nina.steger@tum.de::efda762e-901d-408b-befd-9a071afe5357" providerId="AD" clId="Web-{C595C021-A056-8CC9-F90C-6682A4B32243}" dt="2024-07-17T16:25:44.486" v="45"/>
              <pc2:cmMkLst xmlns:pc2="http://schemas.microsoft.com/office/powerpoint/2019/9/main/command">
                <pc:docMk/>
                <pc:sldMk cId="3782668847" sldId="325"/>
                <pc2:cmMk id="{95C0741E-86D4-441F-A944-135A0B0FBAAE}"/>
              </pc2:cmMkLst>
            </pc226:cmChg>
          </p:ext>
        </pc:extLst>
      </pc:sldChg>
    </pc:docChg>
  </pc:docChgLst>
  <pc:docChgLst>
    <pc:chgData name="Bianca Bacci" userId="83bb2da2-bed4-4ef3-8a15-9eeec0e86db8" providerId="ADAL" clId="{541E39EB-A69F-4613-BFA6-736D89792EDB}"/>
    <pc:docChg chg="modSld">
      <pc:chgData name="Bianca Bacci" userId="83bb2da2-bed4-4ef3-8a15-9eeec0e86db8" providerId="ADAL" clId="{541E39EB-A69F-4613-BFA6-736D89792EDB}" dt="2024-07-18T11:31:57.718" v="162" actId="6549"/>
      <pc:docMkLst>
        <pc:docMk/>
      </pc:docMkLst>
      <pc:sldChg chg="modSp mod">
        <pc:chgData name="Bianca Bacci" userId="83bb2da2-bed4-4ef3-8a15-9eeec0e86db8" providerId="ADAL" clId="{541E39EB-A69F-4613-BFA6-736D89792EDB}" dt="2024-07-18T11:31:57.718" v="162" actId="6549"/>
        <pc:sldMkLst>
          <pc:docMk/>
          <pc:sldMk cId="4270279149" sldId="384"/>
        </pc:sldMkLst>
      </pc:sldChg>
    </pc:docChg>
  </pc:docChgLst>
  <pc:docChgLst>
    <pc:chgData name="Antje-Lina Weber" userId="S::antje-lina.weber@tum.de::9f4ef15c-448f-435b-bcfd-c1b593e81006" providerId="AD" clId="Web-{27E3A56B-4449-52FB-F688-FB8E053DD7EF}"/>
    <pc:docChg chg="mod">
      <pc:chgData name="Antje-Lina Weber" userId="S::antje-lina.weber@tum.de::9f4ef15c-448f-435b-bcfd-c1b593e81006" providerId="AD" clId="Web-{27E3A56B-4449-52FB-F688-FB8E053DD7EF}" dt="2024-07-15T18:41:42.160" v="1"/>
      <pc:docMkLst>
        <pc:docMk/>
      </pc:docMkLst>
      <pc:sldChg chg="addCm">
        <pc:chgData name="Antje-Lina Weber" userId="S::antje-lina.weber@tum.de::9f4ef15c-448f-435b-bcfd-c1b593e81006" providerId="AD" clId="Web-{27E3A56B-4449-52FB-F688-FB8E053DD7EF}" dt="2024-07-15T18:41:42.160" v="1"/>
        <pc:sldMkLst>
          <pc:docMk/>
          <pc:sldMk cId="396498426" sldId="337"/>
        </pc:sldMkLst>
        <pc:extLst>
          <p:ext xmlns:p="http://schemas.openxmlformats.org/presentationml/2006/main" uri="{D6D511B9-2390-475A-947B-AFAB55BFBCF1}">
            <pc226:cmChg xmlns:pc226="http://schemas.microsoft.com/office/powerpoint/2022/06/main/command" chg="add">
              <pc226:chgData name="Antje-Lina Weber" userId="S::antje-lina.weber@tum.de::9f4ef15c-448f-435b-bcfd-c1b593e81006" providerId="AD" clId="Web-{27E3A56B-4449-52FB-F688-FB8E053DD7EF}" dt="2024-07-15T18:41:42.160" v="1"/>
              <pc2:cmMkLst xmlns:pc2="http://schemas.microsoft.com/office/powerpoint/2019/9/main/command">
                <pc:docMk/>
                <pc:sldMk cId="396498426" sldId="337"/>
                <pc2:cmMk id="{C57483AC-610D-4BBE-BA9C-10DFEA360C5F}"/>
              </pc2:cmMkLst>
            </pc226:cmChg>
          </p:ext>
        </pc:extLst>
      </pc:sldChg>
    </pc:docChg>
  </pc:docChgLst>
  <pc:docChgLst>
    <pc:chgData name="Eva Reißner" userId="69eeba62-a39b-4c77-8010-7e75a3ee4230" providerId="ADAL" clId="{4B9F8846-5D9F-4154-A123-E8BEFEEB9E4C}"/>
    <pc:docChg chg="undo redo custSel addSld delSld modSld sldOrd modMainMaster modSection replTag">
      <pc:chgData name="Eva Reißner" userId="69eeba62-a39b-4c77-8010-7e75a3ee4230" providerId="ADAL" clId="{4B9F8846-5D9F-4154-A123-E8BEFEEB9E4C}" dt="2024-07-17T18:09:05.267" v="7749" actId="1076"/>
      <pc:docMkLst>
        <pc:docMk/>
      </pc:docMkLst>
      <pc:sldChg chg="modSp mod">
        <pc:chgData name="Eva Reißner" userId="69eeba62-a39b-4c77-8010-7e75a3ee4230" providerId="ADAL" clId="{4B9F8846-5D9F-4154-A123-E8BEFEEB9E4C}" dt="2024-07-17T16:32:22.062" v="5311" actId="1035"/>
        <pc:sldMkLst>
          <pc:docMk/>
          <pc:sldMk cId="1601966315" sldId="285"/>
        </pc:sldMkLst>
      </pc:sldChg>
      <pc:sldChg chg="addSp delSp modSp mod">
        <pc:chgData name="Eva Reißner" userId="69eeba62-a39b-4c77-8010-7e75a3ee4230" providerId="ADAL" clId="{4B9F8846-5D9F-4154-A123-E8BEFEEB9E4C}" dt="2024-07-17T16:32:55.144" v="5314" actId="1076"/>
        <pc:sldMkLst>
          <pc:docMk/>
          <pc:sldMk cId="3553033900" sldId="287"/>
        </pc:sldMkLst>
      </pc:sldChg>
      <pc:sldChg chg="addSp delSp modSp del mod">
        <pc:chgData name="Eva Reißner" userId="69eeba62-a39b-4c77-8010-7e75a3ee4230" providerId="ADAL" clId="{4B9F8846-5D9F-4154-A123-E8BEFEEB9E4C}" dt="2024-07-17T16:31:40.546" v="5305" actId="47"/>
        <pc:sldMkLst>
          <pc:docMk/>
          <pc:sldMk cId="3419489590" sldId="288"/>
        </pc:sldMkLst>
      </pc:sldChg>
      <pc:sldChg chg="modSp mod">
        <pc:chgData name="Eva Reißner" userId="69eeba62-a39b-4c77-8010-7e75a3ee4230" providerId="ADAL" clId="{4B9F8846-5D9F-4154-A123-E8BEFEEB9E4C}" dt="2024-07-17T17:05:07.243" v="6591" actId="1036"/>
        <pc:sldMkLst>
          <pc:docMk/>
          <pc:sldMk cId="3909716140" sldId="289"/>
        </pc:sldMkLst>
      </pc:sldChg>
      <pc:sldChg chg="addSp modSp mod">
        <pc:chgData name="Eva Reißner" userId="69eeba62-a39b-4c77-8010-7e75a3ee4230" providerId="ADAL" clId="{4B9F8846-5D9F-4154-A123-E8BEFEEB9E4C}" dt="2024-07-17T17:05:40.194" v="6593" actId="1076"/>
        <pc:sldMkLst>
          <pc:docMk/>
          <pc:sldMk cId="1836807439" sldId="290"/>
        </pc:sldMkLst>
      </pc:sldChg>
      <pc:sldChg chg="addSp modSp mod">
        <pc:chgData name="Eva Reißner" userId="69eeba62-a39b-4c77-8010-7e75a3ee4230" providerId="ADAL" clId="{4B9F8846-5D9F-4154-A123-E8BEFEEB9E4C}" dt="2024-07-17T16:35:05.122" v="5356" actId="1076"/>
        <pc:sldMkLst>
          <pc:docMk/>
          <pc:sldMk cId="3118018366" sldId="291"/>
        </pc:sldMkLst>
      </pc:sldChg>
      <pc:sldChg chg="addSp delSp modSp mod ord">
        <pc:chgData name="Eva Reißner" userId="69eeba62-a39b-4c77-8010-7e75a3ee4230" providerId="ADAL" clId="{4B9F8846-5D9F-4154-A123-E8BEFEEB9E4C}" dt="2024-07-17T16:38:17.095" v="5735"/>
        <pc:sldMkLst>
          <pc:docMk/>
          <pc:sldMk cId="3807836379" sldId="292"/>
        </pc:sldMkLst>
      </pc:sldChg>
      <pc:sldChg chg="addSp delSp modSp mod">
        <pc:chgData name="Eva Reißner" userId="69eeba62-a39b-4c77-8010-7e75a3ee4230" providerId="ADAL" clId="{4B9F8846-5D9F-4154-A123-E8BEFEEB9E4C}" dt="2024-07-17T16:40:31.643" v="5977" actId="1036"/>
        <pc:sldMkLst>
          <pc:docMk/>
          <pc:sldMk cId="3642159981" sldId="294"/>
        </pc:sldMkLst>
      </pc:sldChg>
      <pc:sldChg chg="addSp modSp mod">
        <pc:chgData name="Eva Reißner" userId="69eeba62-a39b-4c77-8010-7e75a3ee4230" providerId="ADAL" clId="{4B9F8846-5D9F-4154-A123-E8BEFEEB9E4C}" dt="2024-07-17T16:26:08.745" v="5199" actId="14100"/>
        <pc:sldMkLst>
          <pc:docMk/>
          <pc:sldMk cId="1360738081" sldId="295"/>
        </pc:sldMkLst>
      </pc:sldChg>
      <pc:sldChg chg="addSp modSp mod">
        <pc:chgData name="Eva Reißner" userId="69eeba62-a39b-4c77-8010-7e75a3ee4230" providerId="ADAL" clId="{4B9F8846-5D9F-4154-A123-E8BEFEEB9E4C}" dt="2024-07-17T16:48:13.307" v="6292" actId="1035"/>
        <pc:sldMkLst>
          <pc:docMk/>
          <pc:sldMk cId="2451751709" sldId="298"/>
        </pc:sldMkLst>
      </pc:sldChg>
      <pc:sldChg chg="modSp mod">
        <pc:chgData name="Eva Reißner" userId="69eeba62-a39b-4c77-8010-7e75a3ee4230" providerId="ADAL" clId="{4B9F8846-5D9F-4154-A123-E8BEFEEB9E4C}" dt="2024-07-17T09:35:56.213" v="4270" actId="20577"/>
        <pc:sldMkLst>
          <pc:docMk/>
          <pc:sldMk cId="855508414" sldId="301"/>
        </pc:sldMkLst>
      </pc:sldChg>
      <pc:sldChg chg="addSp modSp mod">
        <pc:chgData name="Eva Reißner" userId="69eeba62-a39b-4c77-8010-7e75a3ee4230" providerId="ADAL" clId="{4B9F8846-5D9F-4154-A123-E8BEFEEB9E4C}" dt="2024-07-12T08:59:25.797" v="35" actId="20577"/>
        <pc:sldMkLst>
          <pc:docMk/>
          <pc:sldMk cId="1608053785" sldId="303"/>
        </pc:sldMkLst>
      </pc:sldChg>
      <pc:sldChg chg="addSp modSp mod">
        <pc:chgData name="Eva Reißner" userId="69eeba62-a39b-4c77-8010-7e75a3ee4230" providerId="ADAL" clId="{4B9F8846-5D9F-4154-A123-E8BEFEEB9E4C}" dt="2024-07-12T09:02:38.129" v="62"/>
        <pc:sldMkLst>
          <pc:docMk/>
          <pc:sldMk cId="2977954321" sldId="304"/>
        </pc:sldMkLst>
      </pc:sldChg>
      <pc:sldChg chg="modSp mod">
        <pc:chgData name="Eva Reißner" userId="69eeba62-a39b-4c77-8010-7e75a3ee4230" providerId="ADAL" clId="{4B9F8846-5D9F-4154-A123-E8BEFEEB9E4C}" dt="2024-07-17T17:06:23.708" v="6602" actId="14100"/>
        <pc:sldMkLst>
          <pc:docMk/>
          <pc:sldMk cId="1340192637" sldId="305"/>
        </pc:sldMkLst>
      </pc:sldChg>
      <pc:sldChg chg="modSp mod">
        <pc:chgData name="Eva Reißner" userId="69eeba62-a39b-4c77-8010-7e75a3ee4230" providerId="ADAL" clId="{4B9F8846-5D9F-4154-A123-E8BEFEEB9E4C}" dt="2024-07-17T17:06:49.808" v="6614" actId="1035"/>
        <pc:sldMkLst>
          <pc:docMk/>
          <pc:sldMk cId="3109028800" sldId="306"/>
        </pc:sldMkLst>
      </pc:sldChg>
      <pc:sldChg chg="delSp modSp mod">
        <pc:chgData name="Eva Reißner" userId="69eeba62-a39b-4c77-8010-7e75a3ee4230" providerId="ADAL" clId="{4B9F8846-5D9F-4154-A123-E8BEFEEB9E4C}" dt="2024-07-17T16:40:49.795" v="6034" actId="1035"/>
        <pc:sldMkLst>
          <pc:docMk/>
          <pc:sldMk cId="1288072368" sldId="313"/>
        </pc:sldMkLst>
      </pc:sldChg>
      <pc:sldChg chg="delSp modSp mod">
        <pc:chgData name="Eva Reißner" userId="69eeba62-a39b-4c77-8010-7e75a3ee4230" providerId="ADAL" clId="{4B9F8846-5D9F-4154-A123-E8BEFEEB9E4C}" dt="2024-07-17T17:04:12.534" v="6584" actId="478"/>
        <pc:sldMkLst>
          <pc:docMk/>
          <pc:sldMk cId="3420601596" sldId="315"/>
        </pc:sldMkLst>
      </pc:sldChg>
      <pc:sldChg chg="modCm">
        <pc:chgData name="Eva Reißner" userId="69eeba62-a39b-4c77-8010-7e75a3ee4230" providerId="ADAL" clId="{4B9F8846-5D9F-4154-A123-E8BEFEEB9E4C}" dt="2024-07-17T17:10:38.275" v="6615" actId="2056"/>
        <pc:sldMkLst>
          <pc:docMk/>
          <pc:sldMk cId="1126850562" sldId="317"/>
        </pc:sldMkLst>
        <pc:extLst>
          <p:ext xmlns:p="http://schemas.openxmlformats.org/presentationml/2006/main" uri="{D6D511B9-2390-475A-947B-AFAB55BFBCF1}">
            <pc226:cmChg xmlns:pc226="http://schemas.microsoft.com/office/powerpoint/2022/06/main/command" chg="mod">
              <pc226:chgData name="Eva Reißner" userId="69eeba62-a39b-4c77-8010-7e75a3ee4230" providerId="ADAL" clId="{4B9F8846-5D9F-4154-A123-E8BEFEEB9E4C}" dt="2024-07-17T17:10:38.275" v="6615" actId="2056"/>
              <pc2:cmMkLst xmlns:pc2="http://schemas.microsoft.com/office/powerpoint/2019/9/main/command">
                <pc:docMk/>
                <pc:sldMk cId="1126850562" sldId="317"/>
                <pc2:cmMk id="{BC01B87E-690F-46EC-80C3-F27115905BD7}"/>
              </pc2:cmMkLst>
            </pc226:cmChg>
            <pc226:cmChg xmlns:pc226="http://schemas.microsoft.com/office/powerpoint/2022/06/main/command" chg="mod">
              <pc226:chgData name="Eva Reißner" userId="69eeba62-a39b-4c77-8010-7e75a3ee4230" providerId="ADAL" clId="{4B9F8846-5D9F-4154-A123-E8BEFEEB9E4C}" dt="2024-07-17T17:10:38.275" v="6615" actId="2056"/>
              <pc2:cmMkLst xmlns:pc2="http://schemas.microsoft.com/office/powerpoint/2019/9/main/command">
                <pc:docMk/>
                <pc:sldMk cId="1126850562" sldId="317"/>
                <pc2:cmMk id="{0DE0CADC-1697-4306-B606-ACAEDB63640B}"/>
              </pc2:cmMkLst>
            </pc226:cmChg>
          </p:ext>
        </pc:extLst>
      </pc:sldChg>
      <pc:sldChg chg="addSp delSp modSp mod">
        <pc:chgData name="Eva Reißner" userId="69eeba62-a39b-4c77-8010-7e75a3ee4230" providerId="ADAL" clId="{4B9F8846-5D9F-4154-A123-E8BEFEEB9E4C}" dt="2024-07-17T16:45:37.972" v="6167" actId="1036"/>
        <pc:sldMkLst>
          <pc:docMk/>
          <pc:sldMk cId="2685171253" sldId="320"/>
        </pc:sldMkLst>
      </pc:sldChg>
      <pc:sldChg chg="addSp delSp modSp mod">
        <pc:chgData name="Eva Reißner" userId="69eeba62-a39b-4c77-8010-7e75a3ee4230" providerId="ADAL" clId="{4B9F8846-5D9F-4154-A123-E8BEFEEB9E4C}" dt="2024-07-17T16:48:47.092" v="6418" actId="1036"/>
        <pc:sldMkLst>
          <pc:docMk/>
          <pc:sldMk cId="1718109997" sldId="321"/>
        </pc:sldMkLst>
      </pc:sldChg>
      <pc:sldChg chg="delSp modSp mod">
        <pc:chgData name="Eva Reißner" userId="69eeba62-a39b-4c77-8010-7e75a3ee4230" providerId="ADAL" clId="{4B9F8846-5D9F-4154-A123-E8BEFEEB9E4C}" dt="2024-07-17T16:49:01.242" v="6468" actId="1035"/>
        <pc:sldMkLst>
          <pc:docMk/>
          <pc:sldMk cId="16049607" sldId="322"/>
        </pc:sldMkLst>
      </pc:sldChg>
      <pc:sldChg chg="addSp delSp modSp mod">
        <pc:chgData name="Eva Reißner" userId="69eeba62-a39b-4c77-8010-7e75a3ee4230" providerId="ADAL" clId="{4B9F8846-5D9F-4154-A123-E8BEFEEB9E4C}" dt="2024-07-17T16:55:34.441" v="6512" actId="1076"/>
        <pc:sldMkLst>
          <pc:docMk/>
          <pc:sldMk cId="1910569066" sldId="323"/>
        </pc:sldMkLst>
      </pc:sldChg>
      <pc:sldChg chg="addSp modSp mod">
        <pc:chgData name="Eva Reißner" userId="69eeba62-a39b-4c77-8010-7e75a3ee4230" providerId="ADAL" clId="{4B9F8846-5D9F-4154-A123-E8BEFEEB9E4C}" dt="2024-07-17T16:56:08.119" v="6514" actId="1076"/>
        <pc:sldMkLst>
          <pc:docMk/>
          <pc:sldMk cId="2654186392" sldId="327"/>
        </pc:sldMkLst>
      </pc:sldChg>
      <pc:sldChg chg="addSp delSp modSp mod">
        <pc:chgData name="Eva Reißner" userId="69eeba62-a39b-4c77-8010-7e75a3ee4230" providerId="ADAL" clId="{4B9F8846-5D9F-4154-A123-E8BEFEEB9E4C}" dt="2024-07-17T16:50:19.074" v="6471" actId="478"/>
        <pc:sldMkLst>
          <pc:docMk/>
          <pc:sldMk cId="1263294924" sldId="330"/>
        </pc:sldMkLst>
      </pc:sldChg>
      <pc:sldChg chg="modSp mod">
        <pc:chgData name="Eva Reißner" userId="69eeba62-a39b-4c77-8010-7e75a3ee4230" providerId="ADAL" clId="{4B9F8846-5D9F-4154-A123-E8BEFEEB9E4C}" dt="2024-07-17T09:23:24.456" v="3693" actId="20577"/>
        <pc:sldMkLst>
          <pc:docMk/>
          <pc:sldMk cId="3545089216" sldId="331"/>
        </pc:sldMkLst>
      </pc:sldChg>
      <pc:sldChg chg="modSp mod">
        <pc:chgData name="Eva Reißner" userId="69eeba62-a39b-4c77-8010-7e75a3ee4230" providerId="ADAL" clId="{4B9F8846-5D9F-4154-A123-E8BEFEEB9E4C}" dt="2024-07-17T13:08:36.671" v="4553" actId="14100"/>
        <pc:sldMkLst>
          <pc:docMk/>
          <pc:sldMk cId="659666124" sldId="332"/>
        </pc:sldMkLst>
      </pc:sldChg>
      <pc:sldChg chg="addSp modSp mod">
        <pc:chgData name="Eva Reißner" userId="69eeba62-a39b-4c77-8010-7e75a3ee4230" providerId="ADAL" clId="{4B9F8846-5D9F-4154-A123-E8BEFEEB9E4C}" dt="2024-07-17T13:10:59.456" v="4615" actId="14100"/>
        <pc:sldMkLst>
          <pc:docMk/>
          <pc:sldMk cId="1361510755" sldId="333"/>
        </pc:sldMkLst>
      </pc:sldChg>
      <pc:sldChg chg="addSp modSp mod modCm">
        <pc:chgData name="Eva Reißner" userId="69eeba62-a39b-4c77-8010-7e75a3ee4230" providerId="ADAL" clId="{4B9F8846-5D9F-4154-A123-E8BEFEEB9E4C}" dt="2024-07-17T09:36:12.156" v="4292" actId="20577"/>
        <pc:sldMkLst>
          <pc:docMk/>
          <pc:sldMk cId="1558425071" sldId="334"/>
        </pc:sldMkLst>
        <pc:extLst>
          <p:ext xmlns:p="http://schemas.openxmlformats.org/presentationml/2006/main" uri="{D6D511B9-2390-475A-947B-AFAB55BFBCF1}">
            <pc226:cmChg xmlns:pc226="http://schemas.microsoft.com/office/powerpoint/2022/06/main/command" chg="mod">
              <pc226:chgData name="Eva Reißner" userId="69eeba62-a39b-4c77-8010-7e75a3ee4230" providerId="ADAL" clId="{4B9F8846-5D9F-4154-A123-E8BEFEEB9E4C}" dt="2024-07-15T15:12:40.834" v="360" actId="2056"/>
              <pc2:cmMkLst xmlns:pc2="http://schemas.microsoft.com/office/powerpoint/2019/9/main/command">
                <pc:docMk/>
                <pc:sldMk cId="1558425071" sldId="334"/>
                <pc2:cmMk id="{BCD1F6D2-40D6-4754-9F52-D8D471DA546C}"/>
              </pc2:cmMkLst>
            </pc226:cmChg>
          </p:ext>
        </pc:extLst>
      </pc:sldChg>
      <pc:sldChg chg="addSp delSp modSp mod">
        <pc:chgData name="Eva Reißner" userId="69eeba62-a39b-4c77-8010-7e75a3ee4230" providerId="ADAL" clId="{4B9F8846-5D9F-4154-A123-E8BEFEEB9E4C}" dt="2024-07-15T16:08:04.339" v="3450" actId="1076"/>
        <pc:sldMkLst>
          <pc:docMk/>
          <pc:sldMk cId="1183542163" sldId="339"/>
        </pc:sldMkLst>
      </pc:sldChg>
      <pc:sldChg chg="addSp modSp mod">
        <pc:chgData name="Eva Reißner" userId="69eeba62-a39b-4c77-8010-7e75a3ee4230" providerId="ADAL" clId="{4B9F8846-5D9F-4154-A123-E8BEFEEB9E4C}" dt="2024-07-15T14:50:05.474" v="200"/>
        <pc:sldMkLst>
          <pc:docMk/>
          <pc:sldMk cId="1871282574" sldId="340"/>
        </pc:sldMkLst>
      </pc:sldChg>
      <pc:sldChg chg="addSp modSp mod">
        <pc:chgData name="Eva Reißner" userId="69eeba62-a39b-4c77-8010-7e75a3ee4230" providerId="ADAL" clId="{4B9F8846-5D9F-4154-A123-E8BEFEEB9E4C}" dt="2024-07-17T09:22:26.656" v="3662"/>
        <pc:sldMkLst>
          <pc:docMk/>
          <pc:sldMk cId="1127244407" sldId="341"/>
        </pc:sldMkLst>
      </pc:sldChg>
      <pc:sldChg chg="addSp delSp modSp mod">
        <pc:chgData name="Eva Reißner" userId="69eeba62-a39b-4c77-8010-7e75a3ee4230" providerId="ADAL" clId="{4B9F8846-5D9F-4154-A123-E8BEFEEB9E4C}" dt="2024-07-17T15:03:44.150" v="4798"/>
        <pc:sldMkLst>
          <pc:docMk/>
          <pc:sldMk cId="2797522874" sldId="351"/>
        </pc:sldMkLst>
      </pc:sldChg>
      <pc:sldChg chg="addSp modSp mod">
        <pc:chgData name="Eva Reißner" userId="69eeba62-a39b-4c77-8010-7e75a3ee4230" providerId="ADAL" clId="{4B9F8846-5D9F-4154-A123-E8BEFEEB9E4C}" dt="2024-07-17T16:57:19.083" v="6581" actId="1035"/>
        <pc:sldMkLst>
          <pc:docMk/>
          <pc:sldMk cId="160204436" sldId="352"/>
        </pc:sldMkLst>
      </pc:sldChg>
      <pc:sldChg chg="modSp mod">
        <pc:chgData name="Eva Reißner" userId="69eeba62-a39b-4c77-8010-7e75a3ee4230" providerId="ADAL" clId="{4B9F8846-5D9F-4154-A123-E8BEFEEB9E4C}" dt="2024-07-17T09:28:59.696" v="4249" actId="20577"/>
        <pc:sldMkLst>
          <pc:docMk/>
          <pc:sldMk cId="3237785027" sldId="354"/>
        </pc:sldMkLst>
      </pc:sldChg>
      <pc:sldChg chg="modSp mod">
        <pc:chgData name="Eva Reißner" userId="69eeba62-a39b-4c77-8010-7e75a3ee4230" providerId="ADAL" clId="{4B9F8846-5D9F-4154-A123-E8BEFEEB9E4C}" dt="2024-07-17T15:03:16.674" v="4625" actId="20577"/>
        <pc:sldMkLst>
          <pc:docMk/>
          <pc:sldMk cId="1662382075" sldId="367"/>
        </pc:sldMkLst>
      </pc:sldChg>
      <pc:sldChg chg="add del">
        <pc:chgData name="Eva Reißner" userId="69eeba62-a39b-4c77-8010-7e75a3ee4230" providerId="ADAL" clId="{4B9F8846-5D9F-4154-A123-E8BEFEEB9E4C}" dt="2024-07-17T13:02:38.674" v="4296" actId="47"/>
        <pc:sldMkLst>
          <pc:docMk/>
          <pc:sldMk cId="4189404269" sldId="368"/>
        </pc:sldMkLst>
      </pc:sldChg>
      <pc:sldChg chg="modSp add mod">
        <pc:chgData name="Eva Reißner" userId="69eeba62-a39b-4c77-8010-7e75a3ee4230" providerId="ADAL" clId="{4B9F8846-5D9F-4154-A123-E8BEFEEB9E4C}" dt="2024-07-17T13:04:07.545" v="4305" actId="14100"/>
        <pc:sldMkLst>
          <pc:docMk/>
          <pc:sldMk cId="2573843723" sldId="369"/>
        </pc:sldMkLst>
      </pc:sldChg>
      <pc:sldChg chg="add del">
        <pc:chgData name="Eva Reißner" userId="69eeba62-a39b-4c77-8010-7e75a3ee4230" providerId="ADAL" clId="{4B9F8846-5D9F-4154-A123-E8BEFEEB9E4C}" dt="2024-07-17T16:20:49.999" v="5154" actId="47"/>
        <pc:sldMkLst>
          <pc:docMk/>
          <pc:sldMk cId="2153950065" sldId="372"/>
        </pc:sldMkLst>
      </pc:sldChg>
      <pc:sldChg chg="addSp delSp modSp new mod">
        <pc:chgData name="Eva Reißner" userId="69eeba62-a39b-4c77-8010-7e75a3ee4230" providerId="ADAL" clId="{4B9F8846-5D9F-4154-A123-E8BEFEEB9E4C}" dt="2024-07-17T16:31:36.582" v="5304" actId="1036"/>
        <pc:sldMkLst>
          <pc:docMk/>
          <pc:sldMk cId="1237709550" sldId="374"/>
        </pc:sldMkLst>
      </pc:sldChg>
      <pc:sldChg chg="addSp delSp modSp mod">
        <pc:chgData name="Eva Reißner" userId="69eeba62-a39b-4c77-8010-7e75a3ee4230" providerId="ADAL" clId="{4B9F8846-5D9F-4154-A123-E8BEFEEB9E4C}" dt="2024-07-17T17:06:03.143" v="6601" actId="1036"/>
        <pc:sldMkLst>
          <pc:docMk/>
          <pc:sldMk cId="2849113408" sldId="375"/>
        </pc:sldMkLst>
      </pc:sldChg>
      <pc:sldChg chg="addSp delSp modSp mod">
        <pc:chgData name="Eva Reißner" userId="69eeba62-a39b-4c77-8010-7e75a3ee4230" providerId="ADAL" clId="{4B9F8846-5D9F-4154-A123-E8BEFEEB9E4C}" dt="2024-07-17T17:51:57.166" v="7515" actId="20577"/>
        <pc:sldMkLst>
          <pc:docMk/>
          <pc:sldMk cId="3923832735" sldId="378"/>
        </pc:sldMkLst>
      </pc:sldChg>
      <pc:sldChg chg="addSp delSp modSp new mod">
        <pc:chgData name="Eva Reißner" userId="69eeba62-a39b-4c77-8010-7e75a3ee4230" providerId="ADAL" clId="{4B9F8846-5D9F-4154-A123-E8BEFEEB9E4C}" dt="2024-07-17T18:09:05.267" v="7749" actId="1076"/>
        <pc:sldMkLst>
          <pc:docMk/>
          <pc:sldMk cId="2577462896" sldId="380"/>
        </pc:sldMkLst>
      </pc:sldChg>
      <pc:sldChg chg="addSp delSp modSp new mod">
        <pc:chgData name="Eva Reißner" userId="69eeba62-a39b-4c77-8010-7e75a3ee4230" providerId="ADAL" clId="{4B9F8846-5D9F-4154-A123-E8BEFEEB9E4C}" dt="2024-07-17T18:06:54.957" v="7741" actId="1076"/>
        <pc:sldMkLst>
          <pc:docMk/>
          <pc:sldMk cId="1028456503" sldId="382"/>
        </pc:sldMkLst>
      </pc:sldChg>
      <pc:sldMasterChg chg="addSp modSp mod">
        <pc:chgData name="Eva Reißner" userId="69eeba62-a39b-4c77-8010-7e75a3ee4230" providerId="ADAL" clId="{4B9F8846-5D9F-4154-A123-E8BEFEEB9E4C}" dt="2024-07-12T08:58:59.722" v="18"/>
        <pc:sldMasterMkLst>
          <pc:docMk/>
          <pc:sldMasterMk cId="0" sldId="2147483669"/>
        </pc:sldMasterMkLst>
      </pc:sldMasterChg>
    </pc:docChg>
  </pc:docChgLst>
</pc:chgInfo>
</file>

<file path=ppt/comments/modernComment_14E_5CE3ADEF.xml><?xml version="1.0" encoding="utf-8"?>
<p188:cmLst xmlns:a="http://schemas.openxmlformats.org/drawingml/2006/main" xmlns:r="http://schemas.openxmlformats.org/officeDocument/2006/relationships" xmlns:p188="http://schemas.microsoft.com/office/powerpoint/2018/8/main">
  <p188:cm id="{BCD1F6D2-40D6-4754-9F52-D8D471DA546C}" authorId="{D1E10BB2-24E6-E7C9-95CA-A4D5C60F7381}" status="resolved" created="2024-07-15T15:06:24.417" complete="100000">
    <ac:deMkLst xmlns:ac="http://schemas.microsoft.com/office/drawing/2013/main/command">
      <pc:docMk xmlns:pc="http://schemas.microsoft.com/office/powerpoint/2013/main/command"/>
      <pc:sldMk xmlns:pc="http://schemas.microsoft.com/office/powerpoint/2013/main/command" cId="1558425071" sldId="334"/>
      <ac:spMk id="327" creationId="{00000000-0000-0000-0000-000000000000}"/>
    </ac:deMkLst>
    <p188:txBody>
      <a:bodyPr/>
      <a:lstStyle/>
      <a:p>
        <a:r>
          <a:rPr lang="de-DE"/>
          <a:t>How is chapter 2 called? Also align with Biancas presentation</a:t>
        </a:r>
      </a:p>
    </p188:txBody>
  </p188:cm>
</p188:cmLst>
</file>

<file path=ppt/comments/modernComment_162_C0FCADC3.xml><?xml version="1.0" encoding="utf-8"?>
<p188:cmLst xmlns:a="http://schemas.openxmlformats.org/drawingml/2006/main" xmlns:r="http://schemas.openxmlformats.org/officeDocument/2006/relationships" xmlns:p188="http://schemas.microsoft.com/office/powerpoint/2018/8/main">
  <p188:cm id="{AAC6FDA8-522B-410E-A364-E5B00BFDDF69}" authorId="{D1E10BB2-24E6-E7C9-95CA-A4D5C60F7381}" created="2024-07-17T15:19:28.102">
    <ac:txMkLst xmlns:ac="http://schemas.microsoft.com/office/drawing/2013/main/command">
      <pc:docMk xmlns:pc="http://schemas.microsoft.com/office/powerpoint/2013/main/command"/>
      <pc:sldMk xmlns:pc="http://schemas.microsoft.com/office/powerpoint/2013/main/command" cId="3237785027" sldId="354"/>
      <ac:spMk id="5" creationId="{AF8A9881-9AFE-21B0-C166-37DE4B084308}"/>
      <ac:txMk cp="0" len="38">
        <ac:context len="39" hash="2800471578"/>
      </ac:txMk>
    </ac:txMkLst>
    <p188:pos x="4167163" y="165156"/>
    <p188:txBody>
      <a:bodyPr/>
      <a:lstStyle/>
      <a:p>
        <a:r>
          <a:rPr lang="de-DE"/>
          <a:t>Einführungsslide und Learning Objectiv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31821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p:cNvGrpSpPr/>
        <p:nvPr/>
      </p:nvGrpSpPr>
      <p:grpSpPr>
        <a:xfrm>
          <a:off x="0" y="0"/>
          <a:ext cx="0" cy="0"/>
          <a:chOff x="0" y="0"/>
          <a:chExt cx="0" cy="0"/>
        </a:xfrm>
      </p:grpSpPr>
      <p:sp>
        <p:nvSpPr>
          <p:cNvPr id="338" name="Google Shape;338;gd431007ba2_0_21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9" name="Google Shape;339;gd431007ba2_0_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sz="1200" i="1">
              <a:solidFill>
                <a:srgbClr val="595959"/>
              </a:solidFill>
              <a:latin typeface="Anaheim"/>
              <a:ea typeface="Anaheim"/>
              <a:cs typeface="Anaheim"/>
              <a:sym typeface="Anaheim"/>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2918840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85070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48765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13024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4dfce81f19_0_45:notes"/>
          <p:cNvSpPr>
            <a:spLocks noGrp="1" noRot="1" noChangeAspect="1"/>
          </p:cNvSpPr>
          <p:nvPr>
            <p:ph type="sldImg" idx="2"/>
          </p:nvPr>
        </p:nvSpPr>
        <p:spPr>
          <a:xfrm>
            <a:off x="2216150" y="685800"/>
            <a:ext cx="24257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915096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11" name="Google Shape;11;p2"/>
          <p:cNvSpPr/>
          <p:nvPr/>
        </p:nvSpPr>
        <p:spPr>
          <a:xfrm>
            <a:off x="-800411" y="4918203"/>
            <a:ext cx="2352738" cy="4307355"/>
          </a:xfrm>
          <a:custGeom>
            <a:avLst/>
            <a:gdLst/>
            <a:ahLst/>
            <a:cxnLst/>
            <a:rect l="l" t="t" r="r" b="b"/>
            <a:pathLst>
              <a:path w="12752" h="4527" fill="none" extrusionOk="0">
                <a:moveTo>
                  <a:pt x="0" y="0"/>
                </a:moveTo>
                <a:lnTo>
                  <a:pt x="0" y="0"/>
                </a:lnTo>
                <a:cubicBezTo>
                  <a:pt x="10972" y="0"/>
                  <a:pt x="10972" y="0"/>
                  <a:pt x="10972" y="0"/>
                </a:cubicBezTo>
                <a:cubicBezTo>
                  <a:pt x="11576" y="0"/>
                  <a:pt x="12068" y="492"/>
                  <a:pt x="12068" y="1096"/>
                </a:cubicBezTo>
                <a:cubicBezTo>
                  <a:pt x="12068" y="1247"/>
                  <a:pt x="12068" y="1247"/>
                  <a:pt x="12068" y="1247"/>
                </a:cubicBezTo>
                <a:cubicBezTo>
                  <a:pt x="12068" y="1851"/>
                  <a:pt x="11576" y="2344"/>
                  <a:pt x="10972" y="2344"/>
                </a:cubicBezTo>
                <a:cubicBezTo>
                  <a:pt x="2845" y="2344"/>
                  <a:pt x="2845" y="2344"/>
                  <a:pt x="2845" y="2344"/>
                </a:cubicBezTo>
                <a:cubicBezTo>
                  <a:pt x="2241" y="2344"/>
                  <a:pt x="1748" y="2827"/>
                  <a:pt x="1748" y="3431"/>
                </a:cubicBezTo>
                <a:lnTo>
                  <a:pt x="1748" y="3431"/>
                </a:lnTo>
                <a:cubicBezTo>
                  <a:pt x="1748" y="4043"/>
                  <a:pt x="2241" y="4527"/>
                  <a:pt x="2845" y="4527"/>
                </a:cubicBezTo>
                <a:cubicBezTo>
                  <a:pt x="12752" y="4527"/>
                  <a:pt x="12752" y="4527"/>
                  <a:pt x="12752" y="4527"/>
                </a:cubicBezTo>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nvGrpSpPr>
          <p:cNvPr id="4" name="Gruppieren 3">
            <a:extLst>
              <a:ext uri="{FF2B5EF4-FFF2-40B4-BE49-F238E27FC236}">
                <a16:creationId xmlns:a16="http://schemas.microsoft.com/office/drawing/2014/main" id="{350ED9F0-7543-D4F6-8646-CC04456CB93C}"/>
              </a:ext>
            </a:extLst>
          </p:cNvPr>
          <p:cNvGrpSpPr/>
          <p:nvPr userDrawn="1"/>
        </p:nvGrpSpPr>
        <p:grpSpPr>
          <a:xfrm>
            <a:off x="1552327" y="8858060"/>
            <a:ext cx="775933" cy="734996"/>
            <a:chOff x="1575188" y="9679563"/>
            <a:chExt cx="250598" cy="378709"/>
          </a:xfrm>
        </p:grpSpPr>
        <p:sp>
          <p:nvSpPr>
            <p:cNvPr id="12" name="Google Shape;12;p2"/>
            <p:cNvSpPr/>
            <p:nvPr/>
          </p:nvSpPr>
          <p:spPr>
            <a:xfrm>
              <a:off x="1575188" y="9708667"/>
              <a:ext cx="157420" cy="326687"/>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3" name="Google Shape;13;p2"/>
            <p:cNvSpPr/>
            <p:nvPr/>
          </p:nvSpPr>
          <p:spPr>
            <a:xfrm>
              <a:off x="1732607" y="9679563"/>
              <a:ext cx="24163" cy="378709"/>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4" name="Google Shape;14;p2"/>
            <p:cNvSpPr/>
            <p:nvPr/>
          </p:nvSpPr>
          <p:spPr>
            <a:xfrm>
              <a:off x="1756770" y="9919668"/>
              <a:ext cx="69016" cy="52022"/>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5" name="Google Shape;15;p2"/>
            <p:cNvSpPr/>
            <p:nvPr/>
          </p:nvSpPr>
          <p:spPr>
            <a:xfrm>
              <a:off x="1756770" y="9766148"/>
              <a:ext cx="69016" cy="52385"/>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16" name="Google Shape;16;p2"/>
          <p:cNvSpPr/>
          <p:nvPr/>
        </p:nvSpPr>
        <p:spPr>
          <a:xfrm>
            <a:off x="6653164" y="8418445"/>
            <a:ext cx="1894488" cy="1049936"/>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17" name="Google Shape;17;p2"/>
          <p:cNvGrpSpPr/>
          <p:nvPr/>
        </p:nvGrpSpPr>
        <p:grpSpPr>
          <a:xfrm>
            <a:off x="678388" y="420332"/>
            <a:ext cx="1339485" cy="1316965"/>
            <a:chOff x="285100" y="445225"/>
            <a:chExt cx="856200" cy="353229"/>
          </a:xfrm>
        </p:grpSpPr>
        <p:sp>
          <p:nvSpPr>
            <p:cNvPr id="18" name="Google Shape;18;p2"/>
            <p:cNvSpPr/>
            <p:nvPr/>
          </p:nvSpPr>
          <p:spPr>
            <a:xfrm>
              <a:off x="285100" y="445225"/>
              <a:ext cx="856200" cy="353229"/>
            </a:xfrm>
            <a:prstGeom prst="ellipse">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9" name="Google Shape;19;p2"/>
            <p:cNvSpPr/>
            <p:nvPr/>
          </p:nvSpPr>
          <p:spPr>
            <a:xfrm>
              <a:off x="506762" y="484579"/>
              <a:ext cx="434338" cy="274521"/>
            </a:xfrm>
            <a:custGeom>
              <a:avLst/>
              <a:gdLst/>
              <a:ahLst/>
              <a:cxnLst/>
              <a:rect l="l" t="t" r="r" b="b"/>
              <a:pathLst>
                <a:path w="3831" h="5455" extrusionOk="0">
                  <a:moveTo>
                    <a:pt x="1959" y="30"/>
                  </a:moveTo>
                  <a:lnTo>
                    <a:pt x="1959" y="30"/>
                  </a:lnTo>
                  <a:cubicBezTo>
                    <a:pt x="13" y="3175"/>
                    <a:pt x="13" y="3175"/>
                    <a:pt x="13" y="3175"/>
                  </a:cubicBezTo>
                  <a:cubicBezTo>
                    <a:pt x="-19" y="3217"/>
                    <a:pt x="13" y="3269"/>
                    <a:pt x="65" y="3269"/>
                  </a:cubicBezTo>
                  <a:cubicBezTo>
                    <a:pt x="1606" y="3269"/>
                    <a:pt x="1606" y="3269"/>
                    <a:pt x="1606" y="3269"/>
                  </a:cubicBezTo>
                  <a:cubicBezTo>
                    <a:pt x="1638" y="3269"/>
                    <a:pt x="1669" y="3300"/>
                    <a:pt x="1669" y="3331"/>
                  </a:cubicBezTo>
                  <a:cubicBezTo>
                    <a:pt x="1669" y="5394"/>
                    <a:pt x="1669" y="5394"/>
                    <a:pt x="1669" y="5394"/>
                  </a:cubicBezTo>
                  <a:cubicBezTo>
                    <a:pt x="1669" y="5456"/>
                    <a:pt x="1742" y="5477"/>
                    <a:pt x="1773" y="5425"/>
                  </a:cubicBezTo>
                  <a:cubicBezTo>
                    <a:pt x="3824" y="2332"/>
                    <a:pt x="3824" y="2332"/>
                    <a:pt x="3824" y="2332"/>
                  </a:cubicBezTo>
                  <a:cubicBezTo>
                    <a:pt x="3845" y="2291"/>
                    <a:pt x="3814" y="2239"/>
                    <a:pt x="3772" y="2239"/>
                  </a:cubicBezTo>
                  <a:cubicBezTo>
                    <a:pt x="2126" y="2239"/>
                    <a:pt x="2126" y="2239"/>
                    <a:pt x="2126" y="2239"/>
                  </a:cubicBezTo>
                  <a:cubicBezTo>
                    <a:pt x="2095" y="2239"/>
                    <a:pt x="2074" y="2207"/>
                    <a:pt x="2074" y="2176"/>
                  </a:cubicBezTo>
                  <a:cubicBezTo>
                    <a:pt x="2064" y="61"/>
                    <a:pt x="2064" y="61"/>
                    <a:pt x="2064" y="61"/>
                  </a:cubicBezTo>
                  <a:cubicBezTo>
                    <a:pt x="2064" y="-1"/>
                    <a:pt x="1991" y="-22"/>
                    <a:pt x="1959" y="30"/>
                  </a:cubicBezTo>
                  <a:close/>
                </a:path>
              </a:pathLst>
            </a:custGeom>
            <a:noFill/>
            <a:ln w="9525" cap="flat" cmpd="sng">
              <a:solidFill>
                <a:schemeClr val="dk1"/>
              </a:solidFill>
              <a:prstDash val="solid"/>
              <a:miter lim="8000"/>
              <a:headEnd type="none" w="sm" len="sm"/>
              <a:tailEnd type="none" w="sm" len="sm"/>
            </a:ln>
          </p:spPr>
          <p:txBody>
            <a:bodyPr spcFirstLastPara="1" wrap="square" lIns="97550" tIns="52550" rIns="97550" bIns="525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1" name="Google Shape;21;p2"/>
          <p:cNvSpPr/>
          <p:nvPr/>
        </p:nvSpPr>
        <p:spPr>
          <a:xfrm>
            <a:off x="-1204795" y="1590571"/>
            <a:ext cx="2102627" cy="2183502"/>
          </a:xfrm>
          <a:prstGeom prst="ellipse">
            <a:avLst/>
          </a:prstGeom>
          <a:solidFill>
            <a:srgbClr val="A15315">
              <a:alpha val="1646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2" name="Google Shape;22;p2"/>
          <p:cNvSpPr/>
          <p:nvPr/>
        </p:nvSpPr>
        <p:spPr>
          <a:xfrm>
            <a:off x="4262027" y="9468381"/>
            <a:ext cx="2102628" cy="2183502"/>
          </a:xfrm>
          <a:prstGeom prst="ellipse">
            <a:avLst/>
          </a:prstGeom>
          <a:solidFill>
            <a:srgbClr val="A15315">
              <a:alpha val="1646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 name="Google Shape;23;p2"/>
          <p:cNvSpPr txBox="1">
            <a:spLocks noGrp="1"/>
          </p:cNvSpPr>
          <p:nvPr>
            <p:ph type="ctrTitle"/>
          </p:nvPr>
        </p:nvSpPr>
        <p:spPr>
          <a:xfrm>
            <a:off x="2753755" y="2368606"/>
            <a:ext cx="4216106" cy="4703275"/>
          </a:xfrm>
          <a:prstGeom prst="rect">
            <a:avLst/>
          </a:prstGeom>
        </p:spPr>
        <p:txBody>
          <a:bodyPr spcFirstLastPara="1" wrap="square" lIns="91425" tIns="91425" rIns="91425" bIns="91425" anchor="b" anchorCtr="0">
            <a:noAutofit/>
          </a:bodyPr>
          <a:lstStyle>
            <a:lvl1pPr lvl="0">
              <a:spcBef>
                <a:spcPts val="0"/>
              </a:spcBef>
              <a:spcAft>
                <a:spcPts val="0"/>
              </a:spcAft>
              <a:buClr>
                <a:srgbClr val="191919"/>
              </a:buClr>
              <a:buSzPts val="4200"/>
              <a:buNone/>
              <a:defRPr sz="3472"/>
            </a:lvl1pPr>
            <a:lvl2pPr lvl="1" algn="ctr">
              <a:spcBef>
                <a:spcPts val="0"/>
              </a:spcBef>
              <a:spcAft>
                <a:spcPts val="0"/>
              </a:spcAft>
              <a:buClr>
                <a:srgbClr val="191919"/>
              </a:buClr>
              <a:buSzPts val="4200"/>
              <a:buNone/>
              <a:defRPr sz="3472">
                <a:solidFill>
                  <a:srgbClr val="191919"/>
                </a:solidFill>
              </a:defRPr>
            </a:lvl2pPr>
            <a:lvl3pPr lvl="2" algn="ctr">
              <a:spcBef>
                <a:spcPts val="0"/>
              </a:spcBef>
              <a:spcAft>
                <a:spcPts val="0"/>
              </a:spcAft>
              <a:buClr>
                <a:srgbClr val="191919"/>
              </a:buClr>
              <a:buSzPts val="4200"/>
              <a:buNone/>
              <a:defRPr sz="3472">
                <a:solidFill>
                  <a:srgbClr val="191919"/>
                </a:solidFill>
              </a:defRPr>
            </a:lvl3pPr>
            <a:lvl4pPr lvl="3" algn="ctr">
              <a:spcBef>
                <a:spcPts val="0"/>
              </a:spcBef>
              <a:spcAft>
                <a:spcPts val="0"/>
              </a:spcAft>
              <a:buClr>
                <a:srgbClr val="191919"/>
              </a:buClr>
              <a:buSzPts val="4200"/>
              <a:buNone/>
              <a:defRPr sz="3472">
                <a:solidFill>
                  <a:srgbClr val="191919"/>
                </a:solidFill>
              </a:defRPr>
            </a:lvl4pPr>
            <a:lvl5pPr lvl="4" algn="ctr">
              <a:spcBef>
                <a:spcPts val="0"/>
              </a:spcBef>
              <a:spcAft>
                <a:spcPts val="0"/>
              </a:spcAft>
              <a:buClr>
                <a:srgbClr val="191919"/>
              </a:buClr>
              <a:buSzPts val="4200"/>
              <a:buNone/>
              <a:defRPr sz="3472">
                <a:solidFill>
                  <a:srgbClr val="191919"/>
                </a:solidFill>
              </a:defRPr>
            </a:lvl5pPr>
            <a:lvl6pPr lvl="5" algn="ctr">
              <a:spcBef>
                <a:spcPts val="0"/>
              </a:spcBef>
              <a:spcAft>
                <a:spcPts val="0"/>
              </a:spcAft>
              <a:buClr>
                <a:srgbClr val="191919"/>
              </a:buClr>
              <a:buSzPts val="4200"/>
              <a:buNone/>
              <a:defRPr sz="3472">
                <a:solidFill>
                  <a:srgbClr val="191919"/>
                </a:solidFill>
              </a:defRPr>
            </a:lvl6pPr>
            <a:lvl7pPr lvl="6" algn="ctr">
              <a:spcBef>
                <a:spcPts val="0"/>
              </a:spcBef>
              <a:spcAft>
                <a:spcPts val="0"/>
              </a:spcAft>
              <a:buClr>
                <a:srgbClr val="191919"/>
              </a:buClr>
              <a:buSzPts val="4200"/>
              <a:buNone/>
              <a:defRPr sz="3472">
                <a:solidFill>
                  <a:srgbClr val="191919"/>
                </a:solidFill>
              </a:defRPr>
            </a:lvl7pPr>
            <a:lvl8pPr lvl="7" algn="ctr">
              <a:spcBef>
                <a:spcPts val="0"/>
              </a:spcBef>
              <a:spcAft>
                <a:spcPts val="0"/>
              </a:spcAft>
              <a:buClr>
                <a:srgbClr val="191919"/>
              </a:buClr>
              <a:buSzPts val="4200"/>
              <a:buNone/>
              <a:defRPr sz="3472">
                <a:solidFill>
                  <a:srgbClr val="191919"/>
                </a:solidFill>
              </a:defRPr>
            </a:lvl8pPr>
            <a:lvl9pPr lvl="8" algn="ctr">
              <a:spcBef>
                <a:spcPts val="0"/>
              </a:spcBef>
              <a:spcAft>
                <a:spcPts val="0"/>
              </a:spcAft>
              <a:buClr>
                <a:srgbClr val="191919"/>
              </a:buClr>
              <a:buSzPts val="4200"/>
              <a:buNone/>
              <a:defRPr sz="3472">
                <a:solidFill>
                  <a:srgbClr val="191919"/>
                </a:solidFill>
              </a:defRPr>
            </a:lvl9pPr>
          </a:lstStyle>
          <a:p>
            <a:endParaRPr/>
          </a:p>
        </p:txBody>
      </p:sp>
      <p:sp>
        <p:nvSpPr>
          <p:cNvPr id="24" name="Google Shape;24;p2"/>
          <p:cNvSpPr txBox="1">
            <a:spLocks noGrp="1"/>
          </p:cNvSpPr>
          <p:nvPr>
            <p:ph type="subTitle" idx="1"/>
          </p:nvPr>
        </p:nvSpPr>
        <p:spPr>
          <a:xfrm>
            <a:off x="2753755" y="7266084"/>
            <a:ext cx="4216106" cy="855594"/>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spcBef>
                <a:spcPts val="0"/>
              </a:spcBef>
              <a:spcAft>
                <a:spcPts val="0"/>
              </a:spcAft>
              <a:buSzPts val="1600"/>
              <a:buNone/>
              <a:defRPr sz="1323">
                <a:solidFill>
                  <a:schemeClr val="dk1"/>
                </a:solidFill>
              </a:defRPr>
            </a:lvl1pPr>
            <a:lvl2pPr lvl="1" algn="ctr">
              <a:lnSpc>
                <a:spcPct val="100000"/>
              </a:lnSpc>
              <a:spcBef>
                <a:spcPts val="0"/>
              </a:spcBef>
              <a:spcAft>
                <a:spcPts val="0"/>
              </a:spcAft>
              <a:buSzPts val="1600"/>
              <a:buNone/>
              <a:defRPr sz="1323"/>
            </a:lvl2pPr>
            <a:lvl3pPr lvl="2" algn="ctr">
              <a:lnSpc>
                <a:spcPct val="100000"/>
              </a:lnSpc>
              <a:spcBef>
                <a:spcPts val="0"/>
              </a:spcBef>
              <a:spcAft>
                <a:spcPts val="0"/>
              </a:spcAft>
              <a:buSzPts val="1600"/>
              <a:buNone/>
              <a:defRPr sz="1323"/>
            </a:lvl3pPr>
            <a:lvl4pPr lvl="3" algn="ctr">
              <a:lnSpc>
                <a:spcPct val="100000"/>
              </a:lnSpc>
              <a:spcBef>
                <a:spcPts val="0"/>
              </a:spcBef>
              <a:spcAft>
                <a:spcPts val="0"/>
              </a:spcAft>
              <a:buSzPts val="1600"/>
              <a:buNone/>
              <a:defRPr sz="1323"/>
            </a:lvl4pPr>
            <a:lvl5pPr lvl="4" algn="ctr">
              <a:lnSpc>
                <a:spcPct val="100000"/>
              </a:lnSpc>
              <a:spcBef>
                <a:spcPts val="0"/>
              </a:spcBef>
              <a:spcAft>
                <a:spcPts val="0"/>
              </a:spcAft>
              <a:buSzPts val="1600"/>
              <a:buNone/>
              <a:defRPr sz="1323"/>
            </a:lvl5pPr>
            <a:lvl6pPr lvl="5" algn="ctr">
              <a:lnSpc>
                <a:spcPct val="100000"/>
              </a:lnSpc>
              <a:spcBef>
                <a:spcPts val="0"/>
              </a:spcBef>
              <a:spcAft>
                <a:spcPts val="0"/>
              </a:spcAft>
              <a:buSzPts val="1600"/>
              <a:buNone/>
              <a:defRPr sz="1323"/>
            </a:lvl6pPr>
            <a:lvl7pPr lvl="6" algn="ctr">
              <a:lnSpc>
                <a:spcPct val="100000"/>
              </a:lnSpc>
              <a:spcBef>
                <a:spcPts val="0"/>
              </a:spcBef>
              <a:spcAft>
                <a:spcPts val="0"/>
              </a:spcAft>
              <a:buSzPts val="1600"/>
              <a:buNone/>
              <a:defRPr sz="1323"/>
            </a:lvl7pPr>
            <a:lvl8pPr lvl="7" algn="ctr">
              <a:lnSpc>
                <a:spcPct val="100000"/>
              </a:lnSpc>
              <a:spcBef>
                <a:spcPts val="0"/>
              </a:spcBef>
              <a:spcAft>
                <a:spcPts val="0"/>
              </a:spcAft>
              <a:buSzPts val="1600"/>
              <a:buNone/>
              <a:defRPr sz="1323"/>
            </a:lvl8pPr>
            <a:lvl9pPr lvl="8" algn="ctr">
              <a:lnSpc>
                <a:spcPct val="100000"/>
              </a:lnSpc>
              <a:spcBef>
                <a:spcPts val="0"/>
              </a:spcBef>
              <a:spcAft>
                <a:spcPts val="0"/>
              </a:spcAft>
              <a:buSzPts val="1600"/>
              <a:buNone/>
              <a:defRPr sz="1323"/>
            </a:lvl9pPr>
          </a:lstStyle>
          <a:p>
            <a:endParaRPr/>
          </a:p>
        </p:txBody>
      </p:sp>
      <p:sp>
        <p:nvSpPr>
          <p:cNvPr id="3" name="Google Shape;16;p2">
            <a:extLst>
              <a:ext uri="{FF2B5EF4-FFF2-40B4-BE49-F238E27FC236}">
                <a16:creationId xmlns:a16="http://schemas.microsoft.com/office/drawing/2014/main" id="{398063EB-6640-0517-42C7-620EEB8F772B}"/>
              </a:ext>
            </a:extLst>
          </p:cNvPr>
          <p:cNvSpPr/>
          <p:nvPr/>
        </p:nvSpPr>
        <p:spPr>
          <a:xfrm>
            <a:off x="5921829" y="-180047"/>
            <a:ext cx="2349388" cy="1258862"/>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5" name="Google Shape;22;p2">
            <a:extLst>
              <a:ext uri="{FF2B5EF4-FFF2-40B4-BE49-F238E27FC236}">
                <a16:creationId xmlns:a16="http://schemas.microsoft.com/office/drawing/2014/main" id="{B73CE064-1E2D-E72B-2148-EB74FC217692}"/>
              </a:ext>
            </a:extLst>
          </p:cNvPr>
          <p:cNvSpPr/>
          <p:nvPr userDrawn="1"/>
        </p:nvSpPr>
        <p:spPr>
          <a:xfrm>
            <a:off x="4086767" y="-1734118"/>
            <a:ext cx="2102628" cy="2183502"/>
          </a:xfrm>
          <a:prstGeom prst="ellipse">
            <a:avLst/>
          </a:prstGeom>
          <a:solidFill>
            <a:srgbClr val="A15315">
              <a:alpha val="1646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 name="Foliennummernplatzhalter 1">
            <a:extLst>
              <a:ext uri="{FF2B5EF4-FFF2-40B4-BE49-F238E27FC236}">
                <a16:creationId xmlns:a16="http://schemas.microsoft.com/office/drawing/2014/main" id="{84EBD5C8-88E5-EDEB-AB74-C30048250204}"/>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extLst>
    <p:ext uri="{DCECCB84-F9BA-43D5-87BE-67443E8EF086}">
      <p15:sldGuideLst xmlns:p15="http://schemas.microsoft.com/office/powerpoint/2012/main">
        <p15:guide id="1" orient="horz" pos="3367" userDrawn="1">
          <p15:clr>
            <a:srgbClr val="FBAE40"/>
          </p15:clr>
        </p15:guide>
        <p15:guide id="2" pos="23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only 2">
  <p:cSld name="CUSTOM_11">
    <p:spTree>
      <p:nvGrpSpPr>
        <p:cNvPr id="1" name="Shape 227"/>
        <p:cNvGrpSpPr/>
        <p:nvPr/>
      </p:nvGrpSpPr>
      <p:grpSpPr>
        <a:xfrm>
          <a:off x="0" y="0"/>
          <a:ext cx="0" cy="0"/>
          <a:chOff x="0" y="0"/>
          <a:chExt cx="0" cy="0"/>
        </a:xfrm>
      </p:grpSpPr>
      <p:sp>
        <p:nvSpPr>
          <p:cNvPr id="230" name="Google Shape;230;p17"/>
          <p:cNvSpPr/>
          <p:nvPr/>
        </p:nvSpPr>
        <p:spPr>
          <a:xfrm rot="5400000">
            <a:off x="4994824" y="1486211"/>
            <a:ext cx="4639101" cy="651486"/>
          </a:xfrm>
          <a:custGeom>
            <a:avLst/>
            <a:gdLst/>
            <a:ahLst/>
            <a:cxnLst/>
            <a:rect l="l" t="t" r="r" b="b"/>
            <a:pathLst>
              <a:path w="12752" h="4527" fill="none" extrusionOk="0">
                <a:moveTo>
                  <a:pt x="0" y="0"/>
                </a:moveTo>
                <a:lnTo>
                  <a:pt x="0" y="0"/>
                </a:lnTo>
                <a:cubicBezTo>
                  <a:pt x="10972" y="0"/>
                  <a:pt x="10972" y="0"/>
                  <a:pt x="10972" y="0"/>
                </a:cubicBezTo>
                <a:cubicBezTo>
                  <a:pt x="11576" y="0"/>
                  <a:pt x="12068" y="492"/>
                  <a:pt x="12068" y="1096"/>
                </a:cubicBezTo>
                <a:cubicBezTo>
                  <a:pt x="12068" y="1247"/>
                  <a:pt x="12068" y="1247"/>
                  <a:pt x="12068" y="1247"/>
                </a:cubicBezTo>
                <a:cubicBezTo>
                  <a:pt x="12068" y="1851"/>
                  <a:pt x="11576" y="2344"/>
                  <a:pt x="10972" y="2344"/>
                </a:cubicBezTo>
                <a:cubicBezTo>
                  <a:pt x="2845" y="2344"/>
                  <a:pt x="2845" y="2344"/>
                  <a:pt x="2845" y="2344"/>
                </a:cubicBezTo>
                <a:cubicBezTo>
                  <a:pt x="2241" y="2344"/>
                  <a:pt x="1748" y="2827"/>
                  <a:pt x="1748" y="3431"/>
                </a:cubicBezTo>
                <a:lnTo>
                  <a:pt x="1748" y="3431"/>
                </a:lnTo>
                <a:cubicBezTo>
                  <a:pt x="1748" y="4043"/>
                  <a:pt x="2241" y="4527"/>
                  <a:pt x="2845" y="4527"/>
                </a:cubicBezTo>
                <a:cubicBezTo>
                  <a:pt x="12752" y="4527"/>
                  <a:pt x="12752" y="4527"/>
                  <a:pt x="12752" y="4527"/>
                </a:cubicBezTo>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nvGrpSpPr>
          <p:cNvPr id="3" name="Gruppieren 2">
            <a:extLst>
              <a:ext uri="{FF2B5EF4-FFF2-40B4-BE49-F238E27FC236}">
                <a16:creationId xmlns:a16="http://schemas.microsoft.com/office/drawing/2014/main" id="{AD36951E-86A1-C742-8A78-9F5786BFD1D6}"/>
              </a:ext>
            </a:extLst>
          </p:cNvPr>
          <p:cNvGrpSpPr/>
          <p:nvPr userDrawn="1"/>
        </p:nvGrpSpPr>
        <p:grpSpPr>
          <a:xfrm>
            <a:off x="6834575" y="4131505"/>
            <a:ext cx="308112" cy="448280"/>
            <a:chOff x="6536033" y="3990716"/>
            <a:chExt cx="257092" cy="630093"/>
          </a:xfrm>
        </p:grpSpPr>
        <p:sp>
          <p:nvSpPr>
            <p:cNvPr id="231" name="Google Shape;231;p17"/>
            <p:cNvSpPr/>
            <p:nvPr/>
          </p:nvSpPr>
          <p:spPr>
            <a:xfrm rot="5400000">
              <a:off x="6464576" y="4077731"/>
              <a:ext cx="395808" cy="221777"/>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32" name="Google Shape;232;p17"/>
            <p:cNvSpPr/>
            <p:nvPr/>
          </p:nvSpPr>
          <p:spPr>
            <a:xfrm rot="5400000">
              <a:off x="6634202" y="4288355"/>
              <a:ext cx="60754" cy="257092"/>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33" name="Google Shape;233;p17"/>
            <p:cNvSpPr/>
            <p:nvPr/>
          </p:nvSpPr>
          <p:spPr>
            <a:xfrm rot="5400000">
              <a:off x="6525704" y="4516385"/>
              <a:ext cx="173530" cy="3531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34" name="Google Shape;234;p17"/>
            <p:cNvSpPr/>
            <p:nvPr/>
          </p:nvSpPr>
          <p:spPr>
            <a:xfrm rot="5400000">
              <a:off x="6629800" y="4516262"/>
              <a:ext cx="173530" cy="35563"/>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35" name="Google Shape;235;p17"/>
          <p:cNvSpPr/>
          <p:nvPr/>
        </p:nvSpPr>
        <p:spPr>
          <a:xfrm>
            <a:off x="7056668" y="8979169"/>
            <a:ext cx="1660372" cy="591183"/>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7" name="Google Shape;237;p17"/>
          <p:cNvSpPr/>
          <p:nvPr/>
        </p:nvSpPr>
        <p:spPr>
          <a:xfrm>
            <a:off x="-2579530" y="4530324"/>
            <a:ext cx="3168231" cy="3276875"/>
          </a:xfrm>
          <a:prstGeom prst="ellipse">
            <a:avLst/>
          </a:prstGeom>
          <a:solidFill>
            <a:srgbClr val="A15315">
              <a:alpha val="1646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8" name="Google Shape;238;p17"/>
          <p:cNvSpPr/>
          <p:nvPr/>
        </p:nvSpPr>
        <p:spPr>
          <a:xfrm>
            <a:off x="1935513" y="10198586"/>
            <a:ext cx="2216762" cy="2341297"/>
          </a:xfrm>
          <a:prstGeom prst="ellipse">
            <a:avLst/>
          </a:prstGeom>
          <a:solidFill>
            <a:srgbClr val="A15315">
              <a:alpha val="1646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39" name="Google Shape;239;p17"/>
          <p:cNvSpPr txBox="1">
            <a:spLocks noGrp="1"/>
          </p:cNvSpPr>
          <p:nvPr>
            <p:ph type="title"/>
          </p:nvPr>
        </p:nvSpPr>
        <p:spPr>
          <a:xfrm>
            <a:off x="589649" y="1121461"/>
            <a:ext cx="6380336" cy="1190474"/>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 name="Foliennummernplatzhalter 1">
            <a:extLst>
              <a:ext uri="{FF2B5EF4-FFF2-40B4-BE49-F238E27FC236}">
                <a16:creationId xmlns:a16="http://schemas.microsoft.com/office/drawing/2014/main" id="{85BE7F40-CAD6-48E9-7635-3D6DCE984FFC}"/>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extLst>
    <p:ext uri="{DCECCB84-F9BA-43D5-87BE-67443E8EF086}">
      <p15:sldGuideLst xmlns:p15="http://schemas.microsoft.com/office/powerpoint/2012/main">
        <p15:guide id="1" orient="horz" pos="3367" userDrawn="1">
          <p15:clr>
            <a:srgbClr val="FBAE40"/>
          </p15:clr>
        </p15:guide>
        <p15:guide id="2" pos="238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ackground">
  <p:cSld name="CUSTOM_9">
    <p:spTree>
      <p:nvGrpSpPr>
        <p:cNvPr id="1" name="Shape 250"/>
        <p:cNvGrpSpPr/>
        <p:nvPr/>
      </p:nvGrpSpPr>
      <p:grpSpPr>
        <a:xfrm>
          <a:off x="0" y="0"/>
          <a:ext cx="0" cy="0"/>
          <a:chOff x="0" y="0"/>
          <a:chExt cx="0" cy="0"/>
        </a:xfrm>
      </p:grpSpPr>
      <p:grpSp>
        <p:nvGrpSpPr>
          <p:cNvPr id="251" name="Google Shape;251;p19"/>
          <p:cNvGrpSpPr/>
          <p:nvPr/>
        </p:nvGrpSpPr>
        <p:grpSpPr>
          <a:xfrm>
            <a:off x="-1371575" y="3035427"/>
            <a:ext cx="10329592" cy="4620959"/>
            <a:chOff x="-1659025" y="1793600"/>
            <a:chExt cx="12494425" cy="2223000"/>
          </a:xfrm>
        </p:grpSpPr>
        <p:sp>
          <p:nvSpPr>
            <p:cNvPr id="252" name="Google Shape;252;p19"/>
            <p:cNvSpPr/>
            <p:nvPr/>
          </p:nvSpPr>
          <p:spPr>
            <a:xfrm>
              <a:off x="-1659025" y="1793600"/>
              <a:ext cx="2223000" cy="2223000"/>
            </a:xfrm>
            <a:prstGeom prst="ellipse">
              <a:avLst/>
            </a:prstGeom>
            <a:solidFill>
              <a:srgbClr val="B9611A">
                <a:alpha val="1950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53" name="Google Shape;253;p19"/>
            <p:cNvSpPr/>
            <p:nvPr/>
          </p:nvSpPr>
          <p:spPr>
            <a:xfrm>
              <a:off x="8612400" y="1793600"/>
              <a:ext cx="2223000" cy="2223000"/>
            </a:xfrm>
            <a:prstGeom prst="ellipse">
              <a:avLst/>
            </a:prstGeom>
            <a:solidFill>
              <a:srgbClr val="B9611A">
                <a:alpha val="1950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grpSp>
        <p:nvGrpSpPr>
          <p:cNvPr id="258" name="Google Shape;258;p19"/>
          <p:cNvGrpSpPr/>
          <p:nvPr/>
        </p:nvGrpSpPr>
        <p:grpSpPr>
          <a:xfrm>
            <a:off x="-777550" y="8248148"/>
            <a:ext cx="2095652" cy="1834976"/>
            <a:chOff x="-96030" y="3967928"/>
            <a:chExt cx="2534850" cy="882750"/>
          </a:xfrm>
        </p:grpSpPr>
        <p:sp>
          <p:nvSpPr>
            <p:cNvPr id="259" name="Google Shape;259;p19"/>
            <p:cNvSpPr/>
            <p:nvPr/>
          </p:nvSpPr>
          <p:spPr>
            <a:xfrm>
              <a:off x="-96030" y="3967928"/>
              <a:ext cx="2231728" cy="792270"/>
            </a:xfrm>
            <a:custGeom>
              <a:avLst/>
              <a:gdLst/>
              <a:ahLst/>
              <a:cxnLst/>
              <a:rect l="l" t="t" r="r" b="b"/>
              <a:pathLst>
                <a:path w="12752" h="4527" fill="none" extrusionOk="0">
                  <a:moveTo>
                    <a:pt x="0" y="0"/>
                  </a:moveTo>
                  <a:lnTo>
                    <a:pt x="0" y="0"/>
                  </a:lnTo>
                  <a:cubicBezTo>
                    <a:pt x="10972" y="0"/>
                    <a:pt x="10972" y="0"/>
                    <a:pt x="10972" y="0"/>
                  </a:cubicBezTo>
                  <a:cubicBezTo>
                    <a:pt x="11576" y="0"/>
                    <a:pt x="12068" y="492"/>
                    <a:pt x="12068" y="1096"/>
                  </a:cubicBezTo>
                  <a:cubicBezTo>
                    <a:pt x="12068" y="1247"/>
                    <a:pt x="12068" y="1247"/>
                    <a:pt x="12068" y="1247"/>
                  </a:cubicBezTo>
                  <a:cubicBezTo>
                    <a:pt x="12068" y="1851"/>
                    <a:pt x="11576" y="2344"/>
                    <a:pt x="10972" y="2344"/>
                  </a:cubicBezTo>
                  <a:cubicBezTo>
                    <a:pt x="2845" y="2344"/>
                    <a:pt x="2845" y="2344"/>
                    <a:pt x="2845" y="2344"/>
                  </a:cubicBezTo>
                  <a:cubicBezTo>
                    <a:pt x="2241" y="2344"/>
                    <a:pt x="1748" y="2827"/>
                    <a:pt x="1748" y="3431"/>
                  </a:cubicBezTo>
                  <a:lnTo>
                    <a:pt x="1748" y="3431"/>
                  </a:lnTo>
                  <a:cubicBezTo>
                    <a:pt x="1748" y="4043"/>
                    <a:pt x="2241" y="4527"/>
                    <a:pt x="2845" y="4527"/>
                  </a:cubicBezTo>
                  <a:cubicBezTo>
                    <a:pt x="12752" y="4527"/>
                    <a:pt x="12752" y="4527"/>
                    <a:pt x="12752" y="4527"/>
                  </a:cubicBezTo>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0" name="Google Shape;260;p19"/>
            <p:cNvSpPr/>
            <p:nvPr/>
          </p:nvSpPr>
          <p:spPr>
            <a:xfrm>
              <a:off x="2135702" y="468249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1" name="Google Shape;261;p19"/>
            <p:cNvSpPr/>
            <p:nvPr/>
          </p:nvSpPr>
          <p:spPr>
            <a:xfrm>
              <a:off x="2326113" y="4668492"/>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2" name="Google Shape;262;p19"/>
            <p:cNvSpPr/>
            <p:nvPr/>
          </p:nvSpPr>
          <p:spPr>
            <a:xfrm>
              <a:off x="2355340" y="4783999"/>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3" name="Google Shape;263;p19"/>
            <p:cNvSpPr/>
            <p:nvPr/>
          </p:nvSpPr>
          <p:spPr>
            <a:xfrm>
              <a:off x="2355340" y="4710145"/>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64" name="Google Shape;264;p19"/>
          <p:cNvSpPr/>
          <p:nvPr/>
        </p:nvSpPr>
        <p:spPr>
          <a:xfrm>
            <a:off x="7110364" y="9274762"/>
            <a:ext cx="972738" cy="591183"/>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265" name="Google Shape;265;p19"/>
          <p:cNvGrpSpPr/>
          <p:nvPr/>
        </p:nvGrpSpPr>
        <p:grpSpPr>
          <a:xfrm>
            <a:off x="581447" y="902707"/>
            <a:ext cx="1845050" cy="1779786"/>
            <a:chOff x="285100" y="445225"/>
            <a:chExt cx="856200" cy="856200"/>
          </a:xfrm>
        </p:grpSpPr>
        <p:sp>
          <p:nvSpPr>
            <p:cNvPr id="266" name="Google Shape;266;p19"/>
            <p:cNvSpPr/>
            <p:nvPr/>
          </p:nvSpPr>
          <p:spPr>
            <a:xfrm>
              <a:off x="506762" y="579382"/>
              <a:ext cx="412876" cy="587885"/>
            </a:xfrm>
            <a:custGeom>
              <a:avLst/>
              <a:gdLst/>
              <a:ahLst/>
              <a:cxnLst/>
              <a:rect l="l" t="t" r="r" b="b"/>
              <a:pathLst>
                <a:path w="3831" h="5455" extrusionOk="0">
                  <a:moveTo>
                    <a:pt x="1959" y="30"/>
                  </a:moveTo>
                  <a:lnTo>
                    <a:pt x="1959" y="30"/>
                  </a:lnTo>
                  <a:cubicBezTo>
                    <a:pt x="13" y="3175"/>
                    <a:pt x="13" y="3175"/>
                    <a:pt x="13" y="3175"/>
                  </a:cubicBezTo>
                  <a:cubicBezTo>
                    <a:pt x="-19" y="3217"/>
                    <a:pt x="13" y="3269"/>
                    <a:pt x="65" y="3269"/>
                  </a:cubicBezTo>
                  <a:cubicBezTo>
                    <a:pt x="1606" y="3269"/>
                    <a:pt x="1606" y="3269"/>
                    <a:pt x="1606" y="3269"/>
                  </a:cubicBezTo>
                  <a:cubicBezTo>
                    <a:pt x="1638" y="3269"/>
                    <a:pt x="1669" y="3300"/>
                    <a:pt x="1669" y="3331"/>
                  </a:cubicBezTo>
                  <a:cubicBezTo>
                    <a:pt x="1669" y="5394"/>
                    <a:pt x="1669" y="5394"/>
                    <a:pt x="1669" y="5394"/>
                  </a:cubicBezTo>
                  <a:cubicBezTo>
                    <a:pt x="1669" y="5456"/>
                    <a:pt x="1742" y="5477"/>
                    <a:pt x="1773" y="5425"/>
                  </a:cubicBezTo>
                  <a:cubicBezTo>
                    <a:pt x="3824" y="2332"/>
                    <a:pt x="3824" y="2332"/>
                    <a:pt x="3824" y="2332"/>
                  </a:cubicBezTo>
                  <a:cubicBezTo>
                    <a:pt x="3845" y="2291"/>
                    <a:pt x="3814" y="2239"/>
                    <a:pt x="3772" y="2239"/>
                  </a:cubicBezTo>
                  <a:cubicBezTo>
                    <a:pt x="2126" y="2239"/>
                    <a:pt x="2126" y="2239"/>
                    <a:pt x="2126" y="2239"/>
                  </a:cubicBezTo>
                  <a:cubicBezTo>
                    <a:pt x="2095" y="2239"/>
                    <a:pt x="2074" y="2207"/>
                    <a:pt x="2074" y="2176"/>
                  </a:cubicBezTo>
                  <a:cubicBezTo>
                    <a:pt x="2064" y="61"/>
                    <a:pt x="2064" y="61"/>
                    <a:pt x="2064" y="61"/>
                  </a:cubicBezTo>
                  <a:cubicBezTo>
                    <a:pt x="2064" y="-1"/>
                    <a:pt x="1991" y="-22"/>
                    <a:pt x="1959" y="30"/>
                  </a:cubicBezTo>
                  <a:close/>
                </a:path>
              </a:pathLst>
            </a:custGeom>
            <a:noFill/>
            <a:ln w="9525" cap="flat" cmpd="sng">
              <a:solidFill>
                <a:schemeClr val="dk1"/>
              </a:solidFill>
              <a:prstDash val="solid"/>
              <a:miter lim="8000"/>
              <a:headEnd type="none" w="sm" len="sm"/>
              <a:tailEnd type="none" w="sm" len="sm"/>
            </a:ln>
          </p:spPr>
          <p:txBody>
            <a:bodyPr spcFirstLastPara="1" wrap="square" lIns="97550" tIns="52550" rIns="97550" bIns="525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67" name="Google Shape;267;p19"/>
            <p:cNvSpPr/>
            <p:nvPr/>
          </p:nvSpPr>
          <p:spPr>
            <a:xfrm>
              <a:off x="285100" y="445225"/>
              <a:ext cx="856200" cy="856200"/>
            </a:xfrm>
            <a:prstGeom prst="ellipse">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grpSp>
        <p:nvGrpSpPr>
          <p:cNvPr id="268" name="Google Shape;268;p19"/>
          <p:cNvGrpSpPr/>
          <p:nvPr/>
        </p:nvGrpSpPr>
        <p:grpSpPr>
          <a:xfrm>
            <a:off x="5023208" y="6099260"/>
            <a:ext cx="1837834" cy="1703560"/>
            <a:chOff x="2852640" y="2125440"/>
            <a:chExt cx="1523160" cy="819530"/>
          </a:xfrm>
        </p:grpSpPr>
        <p:sp>
          <p:nvSpPr>
            <p:cNvPr id="269" name="Google Shape;269;p19"/>
            <p:cNvSpPr/>
            <p:nvPr/>
          </p:nvSpPr>
          <p:spPr>
            <a:xfrm>
              <a:off x="3161880" y="2647610"/>
              <a:ext cx="1189800" cy="297360"/>
            </a:xfrm>
            <a:custGeom>
              <a:avLst/>
              <a:gdLst/>
              <a:ahLst/>
              <a:cxnLst/>
              <a:rect l="l" t="t" r="r" b="b"/>
              <a:pathLst>
                <a:path w="3305" h="826" extrusionOk="0">
                  <a:moveTo>
                    <a:pt x="0" y="711"/>
                  </a:moveTo>
                  <a:lnTo>
                    <a:pt x="0" y="711"/>
                  </a:lnTo>
                  <a:cubicBezTo>
                    <a:pt x="0" y="116"/>
                    <a:pt x="0" y="116"/>
                    <a:pt x="0" y="116"/>
                  </a:cubicBezTo>
                  <a:cubicBezTo>
                    <a:pt x="0" y="49"/>
                    <a:pt x="67" y="0"/>
                    <a:pt x="132" y="0"/>
                  </a:cubicBezTo>
                  <a:cubicBezTo>
                    <a:pt x="3173" y="0"/>
                    <a:pt x="3173" y="0"/>
                    <a:pt x="3173" y="0"/>
                  </a:cubicBezTo>
                  <a:cubicBezTo>
                    <a:pt x="3256" y="0"/>
                    <a:pt x="3305" y="49"/>
                    <a:pt x="3305" y="116"/>
                  </a:cubicBezTo>
                  <a:cubicBezTo>
                    <a:pt x="3305" y="711"/>
                    <a:pt x="3305" y="711"/>
                    <a:pt x="3305" y="711"/>
                  </a:cubicBezTo>
                  <a:cubicBezTo>
                    <a:pt x="3305" y="776"/>
                    <a:pt x="3256" y="826"/>
                    <a:pt x="3173" y="826"/>
                  </a:cubicBezTo>
                  <a:cubicBezTo>
                    <a:pt x="132" y="826"/>
                    <a:pt x="132" y="826"/>
                    <a:pt x="132" y="826"/>
                  </a:cubicBezTo>
                  <a:cubicBezTo>
                    <a:pt x="67" y="826"/>
                    <a:pt x="0" y="776"/>
                    <a:pt x="0" y="711"/>
                  </a:cubicBezTo>
                  <a:close/>
                </a:path>
              </a:pathLst>
            </a:custGeom>
            <a:solidFill>
              <a:schemeClr val="accent3"/>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0" name="Google Shape;270;p19"/>
            <p:cNvSpPr/>
            <p:nvPr/>
          </p:nvSpPr>
          <p:spPr>
            <a:xfrm>
              <a:off x="3453480" y="2647610"/>
              <a:ext cx="898200" cy="297360"/>
            </a:xfrm>
            <a:custGeom>
              <a:avLst/>
              <a:gdLst/>
              <a:ahLst/>
              <a:cxnLst/>
              <a:rect l="l" t="t" r="r" b="b"/>
              <a:pathLst>
                <a:path w="2495" h="826" extrusionOk="0">
                  <a:moveTo>
                    <a:pt x="0" y="826"/>
                  </a:moveTo>
                  <a:lnTo>
                    <a:pt x="0" y="826"/>
                  </a:lnTo>
                  <a:cubicBezTo>
                    <a:pt x="0" y="0"/>
                    <a:pt x="0" y="0"/>
                    <a:pt x="0" y="0"/>
                  </a:cubicBezTo>
                  <a:cubicBezTo>
                    <a:pt x="2363" y="0"/>
                    <a:pt x="2363" y="0"/>
                    <a:pt x="2363" y="0"/>
                  </a:cubicBezTo>
                  <a:cubicBezTo>
                    <a:pt x="2446" y="0"/>
                    <a:pt x="2495" y="49"/>
                    <a:pt x="2495" y="116"/>
                  </a:cubicBezTo>
                  <a:cubicBezTo>
                    <a:pt x="2495" y="711"/>
                    <a:pt x="2495" y="711"/>
                    <a:pt x="2495" y="711"/>
                  </a:cubicBezTo>
                  <a:cubicBezTo>
                    <a:pt x="2495" y="776"/>
                    <a:pt x="2446" y="826"/>
                    <a:pt x="2363" y="826"/>
                  </a:cubicBezTo>
                  <a:lnTo>
                    <a:pt x="0" y="826"/>
                  </a:lnTo>
                  <a:close/>
                </a:path>
              </a:pathLst>
            </a:custGeom>
            <a:solidFill>
              <a:schemeClr val="accent4"/>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1" name="Google Shape;271;p19"/>
            <p:cNvSpPr/>
            <p:nvPr/>
          </p:nvSpPr>
          <p:spPr>
            <a:xfrm>
              <a:off x="3132360" y="2707010"/>
              <a:ext cx="29520" cy="178560"/>
            </a:xfrm>
            <a:custGeom>
              <a:avLst/>
              <a:gdLst/>
              <a:ahLst/>
              <a:cxnLst/>
              <a:rect l="l" t="t" r="r" b="b"/>
              <a:pathLst>
                <a:path w="82" h="496" extrusionOk="0">
                  <a:moveTo>
                    <a:pt x="0" y="49"/>
                  </a:moveTo>
                  <a:lnTo>
                    <a:pt x="0" y="49"/>
                  </a:lnTo>
                  <a:cubicBezTo>
                    <a:pt x="0" y="16"/>
                    <a:pt x="16" y="0"/>
                    <a:pt x="49" y="0"/>
                  </a:cubicBezTo>
                  <a:lnTo>
                    <a:pt x="49" y="0"/>
                  </a:lnTo>
                  <a:cubicBezTo>
                    <a:pt x="67" y="0"/>
                    <a:pt x="82" y="16"/>
                    <a:pt x="82" y="49"/>
                  </a:cubicBezTo>
                  <a:cubicBezTo>
                    <a:pt x="82" y="446"/>
                    <a:pt x="82" y="446"/>
                    <a:pt x="82" y="446"/>
                  </a:cubicBezTo>
                  <a:cubicBezTo>
                    <a:pt x="82" y="479"/>
                    <a:pt x="67" y="496"/>
                    <a:pt x="49" y="496"/>
                  </a:cubicBezTo>
                  <a:lnTo>
                    <a:pt x="49" y="496"/>
                  </a:lnTo>
                  <a:cubicBezTo>
                    <a:pt x="16" y="496"/>
                    <a:pt x="0" y="479"/>
                    <a:pt x="0" y="446"/>
                  </a:cubicBezTo>
                  <a:lnTo>
                    <a:pt x="0" y="49"/>
                  </a:lnTo>
                  <a:close/>
                </a:path>
              </a:pathLst>
            </a:custGeom>
            <a:solidFill>
              <a:schemeClr val="lt2"/>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2" name="Google Shape;272;p19"/>
            <p:cNvSpPr/>
            <p:nvPr/>
          </p:nvSpPr>
          <p:spPr>
            <a:xfrm>
              <a:off x="4107960" y="2784050"/>
              <a:ext cx="100800" cy="24120"/>
            </a:xfrm>
            <a:custGeom>
              <a:avLst/>
              <a:gdLst/>
              <a:ahLst/>
              <a:cxnLst/>
              <a:rect l="l" t="t" r="r" b="b"/>
              <a:pathLst>
                <a:path w="280" h="67" extrusionOk="0">
                  <a:moveTo>
                    <a:pt x="280" y="0"/>
                  </a:moveTo>
                  <a:lnTo>
                    <a:pt x="280" y="67"/>
                  </a:lnTo>
                  <a:lnTo>
                    <a:pt x="0" y="67"/>
                  </a:lnTo>
                  <a:lnTo>
                    <a:pt x="0" y="0"/>
                  </a:lnTo>
                  <a:lnTo>
                    <a:pt x="280" y="0"/>
                  </a:lnTo>
                  <a:close/>
                </a:path>
              </a:pathLst>
            </a:custGeom>
            <a:solidFill>
              <a:schemeClr val="dk2"/>
            </a:solidFill>
            <a:ln>
              <a:noFill/>
            </a:ln>
          </p:spPr>
          <p:txBody>
            <a:bodyPr spcFirstLastPara="1" wrap="square" lIns="90000" tIns="0" rIns="90000" bIns="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3" name="Google Shape;273;p19"/>
            <p:cNvSpPr/>
            <p:nvPr/>
          </p:nvSpPr>
          <p:spPr>
            <a:xfrm>
              <a:off x="3221280" y="2743010"/>
              <a:ext cx="101160" cy="106560"/>
            </a:xfrm>
            <a:custGeom>
              <a:avLst/>
              <a:gdLst/>
              <a:ahLst/>
              <a:cxnLst/>
              <a:rect l="l" t="t" r="r" b="b"/>
              <a:pathLst>
                <a:path w="281" h="296" extrusionOk="0">
                  <a:moveTo>
                    <a:pt x="165" y="114"/>
                  </a:moveTo>
                  <a:lnTo>
                    <a:pt x="281" y="114"/>
                  </a:lnTo>
                  <a:lnTo>
                    <a:pt x="281" y="181"/>
                  </a:lnTo>
                  <a:lnTo>
                    <a:pt x="165" y="181"/>
                  </a:lnTo>
                  <a:lnTo>
                    <a:pt x="165" y="296"/>
                  </a:lnTo>
                  <a:lnTo>
                    <a:pt x="116" y="296"/>
                  </a:lnTo>
                  <a:lnTo>
                    <a:pt x="116" y="181"/>
                  </a:lnTo>
                  <a:lnTo>
                    <a:pt x="0" y="181"/>
                  </a:lnTo>
                  <a:lnTo>
                    <a:pt x="0" y="114"/>
                  </a:lnTo>
                  <a:lnTo>
                    <a:pt x="116" y="114"/>
                  </a:lnTo>
                  <a:lnTo>
                    <a:pt x="116" y="0"/>
                  </a:lnTo>
                  <a:lnTo>
                    <a:pt x="165" y="0"/>
                  </a:lnTo>
                  <a:lnTo>
                    <a:pt x="165" y="114"/>
                  </a:lnTo>
                  <a:close/>
                </a:path>
              </a:pathLst>
            </a:custGeom>
            <a:solidFill>
              <a:srgbClr val="EBF0F5"/>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4" name="Google Shape;274;p19"/>
            <p:cNvSpPr/>
            <p:nvPr/>
          </p:nvSpPr>
          <p:spPr>
            <a:xfrm>
              <a:off x="2852640" y="2125440"/>
              <a:ext cx="1475640" cy="457560"/>
            </a:xfrm>
            <a:custGeom>
              <a:avLst/>
              <a:gdLst/>
              <a:ahLst/>
              <a:cxnLst/>
              <a:rect l="l" t="t" r="r" b="b"/>
              <a:pathLst>
                <a:path w="4099" h="1271" extrusionOk="0">
                  <a:moveTo>
                    <a:pt x="4099" y="198"/>
                  </a:moveTo>
                  <a:lnTo>
                    <a:pt x="4099" y="198"/>
                  </a:lnTo>
                  <a:cubicBezTo>
                    <a:pt x="4099" y="1073"/>
                    <a:pt x="4099" y="1073"/>
                    <a:pt x="4099" y="1073"/>
                  </a:cubicBezTo>
                  <a:cubicBezTo>
                    <a:pt x="4099" y="1189"/>
                    <a:pt x="4017" y="1271"/>
                    <a:pt x="3901" y="1271"/>
                  </a:cubicBezTo>
                  <a:cubicBezTo>
                    <a:pt x="198" y="1271"/>
                    <a:pt x="198" y="1271"/>
                    <a:pt x="198" y="1271"/>
                  </a:cubicBezTo>
                  <a:cubicBezTo>
                    <a:pt x="82" y="1271"/>
                    <a:pt x="0" y="1189"/>
                    <a:pt x="0" y="1073"/>
                  </a:cubicBezTo>
                  <a:cubicBezTo>
                    <a:pt x="0" y="198"/>
                    <a:pt x="0" y="198"/>
                    <a:pt x="0" y="198"/>
                  </a:cubicBezTo>
                  <a:cubicBezTo>
                    <a:pt x="0" y="82"/>
                    <a:pt x="82" y="0"/>
                    <a:pt x="198" y="0"/>
                  </a:cubicBezTo>
                  <a:cubicBezTo>
                    <a:pt x="3901" y="0"/>
                    <a:pt x="3901" y="0"/>
                    <a:pt x="3901" y="0"/>
                  </a:cubicBezTo>
                  <a:cubicBezTo>
                    <a:pt x="4017" y="0"/>
                    <a:pt x="4099" y="82"/>
                    <a:pt x="4099" y="198"/>
                  </a:cubicBezTo>
                  <a:close/>
                </a:path>
              </a:pathLst>
            </a:custGeom>
            <a:solidFill>
              <a:schemeClr val="accent2"/>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5" name="Google Shape;275;p19"/>
            <p:cNvSpPr/>
            <p:nvPr/>
          </p:nvSpPr>
          <p:spPr>
            <a:xfrm>
              <a:off x="2852640" y="2125440"/>
              <a:ext cx="1035360" cy="457560"/>
            </a:xfrm>
            <a:custGeom>
              <a:avLst/>
              <a:gdLst/>
              <a:ahLst/>
              <a:cxnLst/>
              <a:rect l="l" t="t" r="r" b="b"/>
              <a:pathLst>
                <a:path w="2876" h="1271" extrusionOk="0">
                  <a:moveTo>
                    <a:pt x="2876" y="0"/>
                  </a:moveTo>
                  <a:lnTo>
                    <a:pt x="2876" y="0"/>
                  </a:lnTo>
                  <a:cubicBezTo>
                    <a:pt x="2876" y="1271"/>
                    <a:pt x="2876" y="1271"/>
                    <a:pt x="2876" y="1271"/>
                  </a:cubicBezTo>
                  <a:cubicBezTo>
                    <a:pt x="198" y="1271"/>
                    <a:pt x="198" y="1271"/>
                    <a:pt x="198" y="1271"/>
                  </a:cubicBezTo>
                  <a:cubicBezTo>
                    <a:pt x="82" y="1271"/>
                    <a:pt x="0" y="1189"/>
                    <a:pt x="0" y="1073"/>
                  </a:cubicBezTo>
                  <a:cubicBezTo>
                    <a:pt x="0" y="198"/>
                    <a:pt x="0" y="198"/>
                    <a:pt x="0" y="198"/>
                  </a:cubicBezTo>
                  <a:cubicBezTo>
                    <a:pt x="0" y="82"/>
                    <a:pt x="82" y="0"/>
                    <a:pt x="198" y="0"/>
                  </a:cubicBezTo>
                  <a:lnTo>
                    <a:pt x="2876" y="0"/>
                  </a:lnTo>
                  <a:close/>
                </a:path>
              </a:pathLst>
            </a:custGeom>
            <a:solidFill>
              <a:schemeClr val="accent4"/>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6" name="Google Shape;276;p19"/>
            <p:cNvSpPr/>
            <p:nvPr/>
          </p:nvSpPr>
          <p:spPr>
            <a:xfrm>
              <a:off x="4328280" y="2220840"/>
              <a:ext cx="47520" cy="267840"/>
            </a:xfrm>
            <a:custGeom>
              <a:avLst/>
              <a:gdLst/>
              <a:ahLst/>
              <a:cxnLst/>
              <a:rect l="l" t="t" r="r" b="b"/>
              <a:pathLst>
                <a:path w="132" h="744" extrusionOk="0">
                  <a:moveTo>
                    <a:pt x="132" y="677"/>
                  </a:moveTo>
                  <a:lnTo>
                    <a:pt x="132" y="677"/>
                  </a:lnTo>
                  <a:cubicBezTo>
                    <a:pt x="132" y="711"/>
                    <a:pt x="98" y="744"/>
                    <a:pt x="65" y="744"/>
                  </a:cubicBezTo>
                  <a:lnTo>
                    <a:pt x="65" y="744"/>
                  </a:lnTo>
                  <a:cubicBezTo>
                    <a:pt x="33" y="744"/>
                    <a:pt x="0" y="711"/>
                    <a:pt x="0" y="677"/>
                  </a:cubicBezTo>
                  <a:cubicBezTo>
                    <a:pt x="0" y="66"/>
                    <a:pt x="0" y="66"/>
                    <a:pt x="0" y="66"/>
                  </a:cubicBezTo>
                  <a:cubicBezTo>
                    <a:pt x="0" y="33"/>
                    <a:pt x="33" y="0"/>
                    <a:pt x="65" y="0"/>
                  </a:cubicBezTo>
                  <a:lnTo>
                    <a:pt x="65" y="0"/>
                  </a:lnTo>
                  <a:cubicBezTo>
                    <a:pt x="98" y="0"/>
                    <a:pt x="132" y="33"/>
                    <a:pt x="132" y="66"/>
                  </a:cubicBezTo>
                  <a:lnTo>
                    <a:pt x="132" y="677"/>
                  </a:lnTo>
                  <a:close/>
                </a:path>
              </a:pathLst>
            </a:custGeom>
            <a:solidFill>
              <a:schemeClr val="lt2"/>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7" name="Google Shape;277;p19"/>
            <p:cNvSpPr/>
            <p:nvPr/>
          </p:nvSpPr>
          <p:spPr>
            <a:xfrm>
              <a:off x="2942280" y="2333880"/>
              <a:ext cx="154080" cy="41760"/>
            </a:xfrm>
            <a:custGeom>
              <a:avLst/>
              <a:gdLst/>
              <a:ahLst/>
              <a:cxnLst/>
              <a:rect l="l" t="t" r="r" b="b"/>
              <a:pathLst>
                <a:path w="428" h="116" extrusionOk="0">
                  <a:moveTo>
                    <a:pt x="0" y="116"/>
                  </a:moveTo>
                  <a:lnTo>
                    <a:pt x="0" y="0"/>
                  </a:lnTo>
                  <a:lnTo>
                    <a:pt x="428" y="0"/>
                  </a:lnTo>
                  <a:lnTo>
                    <a:pt x="428" y="116"/>
                  </a:lnTo>
                  <a:lnTo>
                    <a:pt x="0" y="116"/>
                  </a:lnTo>
                  <a:close/>
                </a:path>
              </a:pathLst>
            </a:custGeom>
            <a:solidFill>
              <a:schemeClr val="dk2"/>
            </a:solidFill>
            <a:ln>
              <a:noFill/>
            </a:ln>
          </p:spPr>
          <p:txBody>
            <a:bodyPr spcFirstLastPara="1" wrap="square" lIns="90000" tIns="0" rIns="90000" bIns="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78" name="Google Shape;278;p19"/>
            <p:cNvSpPr/>
            <p:nvPr/>
          </p:nvSpPr>
          <p:spPr>
            <a:xfrm>
              <a:off x="4084560" y="2274480"/>
              <a:ext cx="154080" cy="160560"/>
            </a:xfrm>
            <a:custGeom>
              <a:avLst/>
              <a:gdLst/>
              <a:ahLst/>
              <a:cxnLst/>
              <a:rect l="l" t="t" r="r" b="b"/>
              <a:pathLst>
                <a:path w="428" h="446" extrusionOk="0">
                  <a:moveTo>
                    <a:pt x="180" y="263"/>
                  </a:moveTo>
                  <a:lnTo>
                    <a:pt x="0" y="263"/>
                  </a:lnTo>
                  <a:lnTo>
                    <a:pt x="0" y="181"/>
                  </a:lnTo>
                  <a:lnTo>
                    <a:pt x="180" y="181"/>
                  </a:lnTo>
                  <a:lnTo>
                    <a:pt x="180" y="0"/>
                  </a:lnTo>
                  <a:lnTo>
                    <a:pt x="263" y="0"/>
                  </a:lnTo>
                  <a:lnTo>
                    <a:pt x="263" y="181"/>
                  </a:lnTo>
                  <a:lnTo>
                    <a:pt x="428" y="181"/>
                  </a:lnTo>
                  <a:lnTo>
                    <a:pt x="428" y="263"/>
                  </a:lnTo>
                  <a:lnTo>
                    <a:pt x="263" y="263"/>
                  </a:lnTo>
                  <a:lnTo>
                    <a:pt x="263" y="446"/>
                  </a:lnTo>
                  <a:lnTo>
                    <a:pt x="180" y="446"/>
                  </a:lnTo>
                  <a:lnTo>
                    <a:pt x="180" y="263"/>
                  </a:lnTo>
                  <a:close/>
                </a:path>
              </a:pathLst>
            </a:custGeom>
            <a:solidFill>
              <a:schemeClr val="dk2"/>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grpSp>
        <p:nvGrpSpPr>
          <p:cNvPr id="279" name="Google Shape;279;p19"/>
          <p:cNvGrpSpPr/>
          <p:nvPr/>
        </p:nvGrpSpPr>
        <p:grpSpPr>
          <a:xfrm>
            <a:off x="4794637" y="2888972"/>
            <a:ext cx="1974892" cy="3013538"/>
            <a:chOff x="365760" y="1923120"/>
            <a:chExt cx="1301760" cy="1449720"/>
          </a:xfrm>
        </p:grpSpPr>
        <p:sp>
          <p:nvSpPr>
            <p:cNvPr id="280" name="Google Shape;280;p19"/>
            <p:cNvSpPr/>
            <p:nvPr/>
          </p:nvSpPr>
          <p:spPr>
            <a:xfrm>
              <a:off x="365760" y="1923120"/>
              <a:ext cx="696240" cy="1249200"/>
            </a:xfrm>
            <a:custGeom>
              <a:avLst/>
              <a:gdLst/>
              <a:ahLst/>
              <a:cxnLst/>
              <a:rect l="l" t="t" r="r" b="b"/>
              <a:pathLst>
                <a:path w="1934" h="3470" extrusionOk="0">
                  <a:moveTo>
                    <a:pt x="1785" y="183"/>
                  </a:moveTo>
                  <a:lnTo>
                    <a:pt x="1785" y="183"/>
                  </a:lnTo>
                  <a:lnTo>
                    <a:pt x="1785" y="183"/>
                  </a:lnTo>
                  <a:cubicBezTo>
                    <a:pt x="1702" y="183"/>
                    <a:pt x="1636" y="248"/>
                    <a:pt x="1636" y="330"/>
                  </a:cubicBezTo>
                  <a:cubicBezTo>
                    <a:pt x="1636" y="1404"/>
                    <a:pt x="1636" y="1404"/>
                    <a:pt x="1636" y="1404"/>
                  </a:cubicBezTo>
                  <a:cubicBezTo>
                    <a:pt x="1636" y="1422"/>
                    <a:pt x="1604" y="1455"/>
                    <a:pt x="1586" y="1455"/>
                  </a:cubicBezTo>
                  <a:cubicBezTo>
                    <a:pt x="1553" y="1455"/>
                    <a:pt x="1521" y="1422"/>
                    <a:pt x="1521" y="1404"/>
                  </a:cubicBezTo>
                  <a:cubicBezTo>
                    <a:pt x="1521" y="149"/>
                    <a:pt x="1521" y="149"/>
                    <a:pt x="1521" y="149"/>
                  </a:cubicBezTo>
                  <a:cubicBezTo>
                    <a:pt x="1521" y="67"/>
                    <a:pt x="1471" y="0"/>
                    <a:pt x="1388" y="0"/>
                  </a:cubicBezTo>
                  <a:cubicBezTo>
                    <a:pt x="1372" y="0"/>
                    <a:pt x="1372" y="0"/>
                    <a:pt x="1372" y="0"/>
                  </a:cubicBezTo>
                  <a:cubicBezTo>
                    <a:pt x="1290" y="0"/>
                    <a:pt x="1223" y="67"/>
                    <a:pt x="1223" y="149"/>
                  </a:cubicBezTo>
                  <a:cubicBezTo>
                    <a:pt x="1223" y="1404"/>
                    <a:pt x="1223" y="1404"/>
                    <a:pt x="1223" y="1404"/>
                  </a:cubicBezTo>
                  <a:cubicBezTo>
                    <a:pt x="1223" y="1422"/>
                    <a:pt x="1207" y="1455"/>
                    <a:pt x="1174" y="1455"/>
                  </a:cubicBezTo>
                  <a:cubicBezTo>
                    <a:pt x="1141" y="1455"/>
                    <a:pt x="1125" y="1422"/>
                    <a:pt x="1125" y="1404"/>
                  </a:cubicBezTo>
                  <a:cubicBezTo>
                    <a:pt x="1125" y="149"/>
                    <a:pt x="1125" y="149"/>
                    <a:pt x="1125" y="149"/>
                  </a:cubicBezTo>
                  <a:cubicBezTo>
                    <a:pt x="1125" y="67"/>
                    <a:pt x="1058" y="0"/>
                    <a:pt x="976" y="0"/>
                  </a:cubicBezTo>
                  <a:cubicBezTo>
                    <a:pt x="958" y="0"/>
                    <a:pt x="958" y="0"/>
                    <a:pt x="958" y="0"/>
                  </a:cubicBezTo>
                  <a:cubicBezTo>
                    <a:pt x="876" y="0"/>
                    <a:pt x="811" y="67"/>
                    <a:pt x="811" y="149"/>
                  </a:cubicBezTo>
                  <a:cubicBezTo>
                    <a:pt x="811" y="1404"/>
                    <a:pt x="811" y="1404"/>
                    <a:pt x="811" y="1404"/>
                  </a:cubicBezTo>
                  <a:cubicBezTo>
                    <a:pt x="811" y="1422"/>
                    <a:pt x="793" y="1455"/>
                    <a:pt x="760" y="1455"/>
                  </a:cubicBezTo>
                  <a:cubicBezTo>
                    <a:pt x="728" y="1455"/>
                    <a:pt x="711" y="1422"/>
                    <a:pt x="711" y="1404"/>
                  </a:cubicBezTo>
                  <a:cubicBezTo>
                    <a:pt x="711" y="299"/>
                    <a:pt x="711" y="299"/>
                    <a:pt x="711" y="299"/>
                  </a:cubicBezTo>
                  <a:cubicBezTo>
                    <a:pt x="711" y="215"/>
                    <a:pt x="644" y="149"/>
                    <a:pt x="561" y="149"/>
                  </a:cubicBezTo>
                  <a:cubicBezTo>
                    <a:pt x="546" y="149"/>
                    <a:pt x="546" y="149"/>
                    <a:pt x="546" y="149"/>
                  </a:cubicBezTo>
                  <a:cubicBezTo>
                    <a:pt x="463" y="149"/>
                    <a:pt x="396" y="215"/>
                    <a:pt x="396" y="299"/>
                  </a:cubicBezTo>
                  <a:cubicBezTo>
                    <a:pt x="396" y="1851"/>
                    <a:pt x="396" y="1851"/>
                    <a:pt x="396" y="1851"/>
                  </a:cubicBezTo>
                  <a:cubicBezTo>
                    <a:pt x="331" y="1686"/>
                    <a:pt x="331" y="1686"/>
                    <a:pt x="331" y="1686"/>
                  </a:cubicBezTo>
                  <a:lnTo>
                    <a:pt x="314" y="1668"/>
                  </a:lnTo>
                  <a:cubicBezTo>
                    <a:pt x="314" y="1273"/>
                    <a:pt x="314" y="1273"/>
                    <a:pt x="314" y="1273"/>
                  </a:cubicBezTo>
                  <a:cubicBezTo>
                    <a:pt x="314" y="1190"/>
                    <a:pt x="247" y="1123"/>
                    <a:pt x="165" y="1123"/>
                  </a:cubicBezTo>
                  <a:cubicBezTo>
                    <a:pt x="66" y="1123"/>
                    <a:pt x="0" y="1190"/>
                    <a:pt x="0" y="1273"/>
                  </a:cubicBezTo>
                  <a:cubicBezTo>
                    <a:pt x="0" y="1717"/>
                    <a:pt x="0" y="1717"/>
                    <a:pt x="0" y="1717"/>
                  </a:cubicBezTo>
                  <a:lnTo>
                    <a:pt x="0" y="1735"/>
                  </a:lnTo>
                  <a:cubicBezTo>
                    <a:pt x="0" y="1768"/>
                    <a:pt x="0" y="1800"/>
                    <a:pt x="17" y="1833"/>
                  </a:cubicBezTo>
                  <a:cubicBezTo>
                    <a:pt x="17" y="1833"/>
                    <a:pt x="496" y="2891"/>
                    <a:pt x="496" y="2907"/>
                  </a:cubicBezTo>
                  <a:lnTo>
                    <a:pt x="496" y="2907"/>
                  </a:lnTo>
                  <a:cubicBezTo>
                    <a:pt x="496" y="3321"/>
                    <a:pt x="496" y="3321"/>
                    <a:pt x="496" y="3321"/>
                  </a:cubicBezTo>
                  <a:cubicBezTo>
                    <a:pt x="496" y="3404"/>
                    <a:pt x="561" y="3470"/>
                    <a:pt x="644" y="3470"/>
                  </a:cubicBezTo>
                  <a:cubicBezTo>
                    <a:pt x="1702" y="3470"/>
                    <a:pt x="1702" y="3470"/>
                    <a:pt x="1702" y="3470"/>
                  </a:cubicBezTo>
                  <a:cubicBezTo>
                    <a:pt x="1785" y="3470"/>
                    <a:pt x="1851" y="3404"/>
                    <a:pt x="1851" y="3321"/>
                  </a:cubicBezTo>
                  <a:cubicBezTo>
                    <a:pt x="1851" y="2875"/>
                    <a:pt x="1851" y="2875"/>
                    <a:pt x="1851" y="2875"/>
                  </a:cubicBezTo>
                  <a:cubicBezTo>
                    <a:pt x="1900" y="2791"/>
                    <a:pt x="1934" y="2610"/>
                    <a:pt x="1934" y="2544"/>
                  </a:cubicBezTo>
                  <a:cubicBezTo>
                    <a:pt x="1934" y="330"/>
                    <a:pt x="1934" y="330"/>
                    <a:pt x="1934" y="330"/>
                  </a:cubicBezTo>
                  <a:cubicBezTo>
                    <a:pt x="1934" y="248"/>
                    <a:pt x="1867" y="183"/>
                    <a:pt x="1785" y="183"/>
                  </a:cubicBezTo>
                  <a:close/>
                </a:path>
              </a:pathLst>
            </a:custGeom>
            <a:solidFill>
              <a:schemeClr val="accent4"/>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81" name="Google Shape;281;p19"/>
            <p:cNvSpPr/>
            <p:nvPr/>
          </p:nvSpPr>
          <p:spPr>
            <a:xfrm>
              <a:off x="730080" y="2115000"/>
              <a:ext cx="937440" cy="1257840"/>
            </a:xfrm>
            <a:custGeom>
              <a:avLst/>
              <a:gdLst/>
              <a:ahLst/>
              <a:cxnLst/>
              <a:rect l="l" t="t" r="r" b="b"/>
              <a:pathLst>
                <a:path w="2604" h="3494" extrusionOk="0">
                  <a:moveTo>
                    <a:pt x="1385" y="13"/>
                  </a:moveTo>
                  <a:lnTo>
                    <a:pt x="1385" y="13"/>
                  </a:lnTo>
                  <a:cubicBezTo>
                    <a:pt x="1401" y="13"/>
                    <a:pt x="1401" y="13"/>
                    <a:pt x="1401" y="13"/>
                  </a:cubicBezTo>
                  <a:cubicBezTo>
                    <a:pt x="1468" y="46"/>
                    <a:pt x="1501" y="145"/>
                    <a:pt x="1468" y="211"/>
                  </a:cubicBezTo>
                  <a:cubicBezTo>
                    <a:pt x="1020" y="1184"/>
                    <a:pt x="1020" y="1184"/>
                    <a:pt x="1020" y="1184"/>
                  </a:cubicBezTo>
                  <a:cubicBezTo>
                    <a:pt x="1004" y="1202"/>
                    <a:pt x="1004" y="1235"/>
                    <a:pt x="1038" y="1251"/>
                  </a:cubicBezTo>
                  <a:cubicBezTo>
                    <a:pt x="1071" y="1267"/>
                    <a:pt x="1104" y="1251"/>
                    <a:pt x="1104" y="1218"/>
                  </a:cubicBezTo>
                  <a:cubicBezTo>
                    <a:pt x="1633" y="96"/>
                    <a:pt x="1633" y="96"/>
                    <a:pt x="1633" y="96"/>
                  </a:cubicBezTo>
                  <a:cubicBezTo>
                    <a:pt x="1666" y="29"/>
                    <a:pt x="1748" y="-4"/>
                    <a:pt x="1831" y="29"/>
                  </a:cubicBezTo>
                  <a:lnTo>
                    <a:pt x="1831" y="29"/>
                  </a:lnTo>
                  <a:cubicBezTo>
                    <a:pt x="1913" y="62"/>
                    <a:pt x="1947" y="145"/>
                    <a:pt x="1913" y="227"/>
                  </a:cubicBezTo>
                  <a:cubicBezTo>
                    <a:pt x="1385" y="1351"/>
                    <a:pt x="1385" y="1351"/>
                    <a:pt x="1385" y="1351"/>
                  </a:cubicBezTo>
                  <a:cubicBezTo>
                    <a:pt x="1368" y="1383"/>
                    <a:pt x="1385" y="1416"/>
                    <a:pt x="1417" y="1416"/>
                  </a:cubicBezTo>
                  <a:cubicBezTo>
                    <a:pt x="1434" y="1433"/>
                    <a:pt x="1468" y="1433"/>
                    <a:pt x="1483" y="1400"/>
                  </a:cubicBezTo>
                  <a:cubicBezTo>
                    <a:pt x="2012" y="276"/>
                    <a:pt x="2012" y="276"/>
                    <a:pt x="2012" y="276"/>
                  </a:cubicBezTo>
                  <a:cubicBezTo>
                    <a:pt x="2045" y="194"/>
                    <a:pt x="2128" y="162"/>
                    <a:pt x="2194" y="194"/>
                  </a:cubicBezTo>
                  <a:cubicBezTo>
                    <a:pt x="2210" y="211"/>
                    <a:pt x="2210" y="211"/>
                    <a:pt x="2210" y="211"/>
                  </a:cubicBezTo>
                  <a:cubicBezTo>
                    <a:pt x="2277" y="245"/>
                    <a:pt x="2310" y="327"/>
                    <a:pt x="2277" y="392"/>
                  </a:cubicBezTo>
                  <a:cubicBezTo>
                    <a:pt x="1748" y="1532"/>
                    <a:pt x="1748" y="1532"/>
                    <a:pt x="1748" y="1532"/>
                  </a:cubicBezTo>
                  <a:cubicBezTo>
                    <a:pt x="1748" y="1549"/>
                    <a:pt x="1748" y="1581"/>
                    <a:pt x="1782" y="1598"/>
                  </a:cubicBezTo>
                  <a:cubicBezTo>
                    <a:pt x="1813" y="1614"/>
                    <a:pt x="1847" y="1598"/>
                    <a:pt x="1847" y="1565"/>
                  </a:cubicBezTo>
                  <a:cubicBezTo>
                    <a:pt x="2310" y="575"/>
                    <a:pt x="2310" y="575"/>
                    <a:pt x="2310" y="575"/>
                  </a:cubicBezTo>
                  <a:cubicBezTo>
                    <a:pt x="2343" y="508"/>
                    <a:pt x="2442" y="475"/>
                    <a:pt x="2508" y="508"/>
                  </a:cubicBezTo>
                  <a:cubicBezTo>
                    <a:pt x="2524" y="508"/>
                    <a:pt x="2524" y="508"/>
                    <a:pt x="2524" y="508"/>
                  </a:cubicBezTo>
                  <a:cubicBezTo>
                    <a:pt x="2591" y="541"/>
                    <a:pt x="2624" y="624"/>
                    <a:pt x="2591" y="706"/>
                  </a:cubicBezTo>
                  <a:cubicBezTo>
                    <a:pt x="1929" y="2111"/>
                    <a:pt x="1929" y="2111"/>
                    <a:pt x="1929" y="2111"/>
                  </a:cubicBezTo>
                  <a:cubicBezTo>
                    <a:pt x="2063" y="1995"/>
                    <a:pt x="2063" y="1995"/>
                    <a:pt x="2063" y="1995"/>
                  </a:cubicBezTo>
                  <a:cubicBezTo>
                    <a:pt x="2078" y="1995"/>
                    <a:pt x="2078" y="1978"/>
                    <a:pt x="2096" y="1978"/>
                  </a:cubicBezTo>
                  <a:cubicBezTo>
                    <a:pt x="2261" y="1632"/>
                    <a:pt x="2261" y="1632"/>
                    <a:pt x="2261" y="1632"/>
                  </a:cubicBezTo>
                  <a:cubicBezTo>
                    <a:pt x="2294" y="1549"/>
                    <a:pt x="2393" y="1516"/>
                    <a:pt x="2475" y="1549"/>
                  </a:cubicBezTo>
                  <a:cubicBezTo>
                    <a:pt x="2542" y="1581"/>
                    <a:pt x="2575" y="1681"/>
                    <a:pt x="2542" y="1763"/>
                  </a:cubicBezTo>
                  <a:cubicBezTo>
                    <a:pt x="2359" y="2160"/>
                    <a:pt x="2359" y="2160"/>
                    <a:pt x="2359" y="2160"/>
                  </a:cubicBezTo>
                  <a:cubicBezTo>
                    <a:pt x="2359" y="2160"/>
                    <a:pt x="2359" y="2176"/>
                    <a:pt x="2343" y="2176"/>
                  </a:cubicBezTo>
                  <a:cubicBezTo>
                    <a:pt x="2343" y="2209"/>
                    <a:pt x="2326" y="2242"/>
                    <a:pt x="2294" y="2258"/>
                  </a:cubicBezTo>
                  <a:cubicBezTo>
                    <a:pt x="2294" y="2258"/>
                    <a:pt x="1417" y="3020"/>
                    <a:pt x="1401" y="3036"/>
                  </a:cubicBezTo>
                  <a:lnTo>
                    <a:pt x="1401" y="3036"/>
                  </a:lnTo>
                  <a:cubicBezTo>
                    <a:pt x="1236" y="3399"/>
                    <a:pt x="1236" y="3399"/>
                    <a:pt x="1236" y="3399"/>
                  </a:cubicBezTo>
                  <a:cubicBezTo>
                    <a:pt x="1203" y="3481"/>
                    <a:pt x="1104" y="3515"/>
                    <a:pt x="1038" y="3481"/>
                  </a:cubicBezTo>
                  <a:cubicBezTo>
                    <a:pt x="79" y="3036"/>
                    <a:pt x="79" y="3036"/>
                    <a:pt x="79" y="3036"/>
                  </a:cubicBezTo>
                  <a:cubicBezTo>
                    <a:pt x="13" y="3002"/>
                    <a:pt x="-21" y="2904"/>
                    <a:pt x="13" y="2837"/>
                  </a:cubicBezTo>
                  <a:cubicBezTo>
                    <a:pt x="195" y="2441"/>
                    <a:pt x="195" y="2441"/>
                    <a:pt x="195" y="2441"/>
                  </a:cubicBezTo>
                  <a:cubicBezTo>
                    <a:pt x="178" y="2342"/>
                    <a:pt x="227" y="2160"/>
                    <a:pt x="244" y="2093"/>
                  </a:cubicBezTo>
                  <a:cubicBezTo>
                    <a:pt x="1187" y="78"/>
                    <a:pt x="1187" y="78"/>
                    <a:pt x="1187" y="78"/>
                  </a:cubicBezTo>
                  <a:cubicBezTo>
                    <a:pt x="1218" y="13"/>
                    <a:pt x="1303" y="-20"/>
                    <a:pt x="1385" y="13"/>
                  </a:cubicBezTo>
                  <a:close/>
                </a:path>
              </a:pathLst>
            </a:custGeom>
            <a:solidFill>
              <a:schemeClr val="accent3"/>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2" name="Foliennummernplatzhalter 1">
            <a:extLst>
              <a:ext uri="{FF2B5EF4-FFF2-40B4-BE49-F238E27FC236}">
                <a16:creationId xmlns:a16="http://schemas.microsoft.com/office/drawing/2014/main" id="{827DF1D1-0716-FA36-B871-C258DC442CF2}"/>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ackground 1">
  <p:cSld name="CUSTOM_9_1">
    <p:spTree>
      <p:nvGrpSpPr>
        <p:cNvPr id="1" name="Shape 282"/>
        <p:cNvGrpSpPr/>
        <p:nvPr/>
      </p:nvGrpSpPr>
      <p:grpSpPr>
        <a:xfrm>
          <a:off x="0" y="0"/>
          <a:ext cx="0" cy="0"/>
          <a:chOff x="0" y="0"/>
          <a:chExt cx="0" cy="0"/>
        </a:xfrm>
      </p:grpSpPr>
      <p:sp>
        <p:nvSpPr>
          <p:cNvPr id="284" name="Google Shape;284;p20"/>
          <p:cNvSpPr/>
          <p:nvPr/>
        </p:nvSpPr>
        <p:spPr>
          <a:xfrm>
            <a:off x="5486401" y="-1317356"/>
            <a:ext cx="2665708" cy="2438817"/>
          </a:xfrm>
          <a:prstGeom prst="ellipse">
            <a:avLst/>
          </a:prstGeom>
          <a:solidFill>
            <a:srgbClr val="B9611A">
              <a:alpha val="1950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85" name="Google Shape;285;p20"/>
          <p:cNvSpPr/>
          <p:nvPr/>
        </p:nvSpPr>
        <p:spPr>
          <a:xfrm>
            <a:off x="2956130" y="9855463"/>
            <a:ext cx="3220671" cy="2837315"/>
          </a:xfrm>
          <a:prstGeom prst="ellipse">
            <a:avLst/>
          </a:prstGeom>
          <a:solidFill>
            <a:srgbClr val="B9611A">
              <a:alpha val="1950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286" name="Google Shape;286;p20"/>
          <p:cNvGrpSpPr/>
          <p:nvPr/>
        </p:nvGrpSpPr>
        <p:grpSpPr>
          <a:xfrm flipH="1">
            <a:off x="-251979" y="-316"/>
            <a:ext cx="2768924" cy="10340720"/>
            <a:chOff x="6046787" y="-152"/>
            <a:chExt cx="3349223" cy="4974600"/>
          </a:xfrm>
        </p:grpSpPr>
        <p:sp>
          <p:nvSpPr>
            <p:cNvPr id="287" name="Google Shape;287;p20"/>
            <p:cNvSpPr/>
            <p:nvPr/>
          </p:nvSpPr>
          <p:spPr>
            <a:xfrm flipH="1">
              <a:off x="8219410" y="4690048"/>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88" name="Google Shape;288;p20"/>
            <p:cNvSpPr/>
            <p:nvPr/>
          </p:nvSpPr>
          <p:spPr>
            <a:xfrm rot="10800000">
              <a:off x="6159494" y="475218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89" name="Google Shape;289;p20"/>
            <p:cNvSpPr/>
            <p:nvPr/>
          </p:nvSpPr>
          <p:spPr>
            <a:xfrm rot="10800000">
              <a:off x="6130267" y="4741158"/>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90" name="Google Shape;290;p20"/>
            <p:cNvSpPr/>
            <p:nvPr/>
          </p:nvSpPr>
          <p:spPr>
            <a:xfrm rot="10800000">
              <a:off x="6046787" y="4782810"/>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91" name="Google Shape;291;p20"/>
            <p:cNvSpPr/>
            <p:nvPr/>
          </p:nvSpPr>
          <p:spPr>
            <a:xfrm rot="10800000">
              <a:off x="6046787" y="4856489"/>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292" name="Google Shape;292;p20"/>
            <p:cNvCxnSpPr>
              <a:endCxn id="287" idx="3"/>
            </p:cNvCxnSpPr>
            <p:nvPr/>
          </p:nvCxnSpPr>
          <p:spPr>
            <a:xfrm>
              <a:off x="6350110" y="4832248"/>
              <a:ext cx="1869300" cy="0"/>
            </a:xfrm>
            <a:prstGeom prst="straightConnector1">
              <a:avLst/>
            </a:prstGeom>
            <a:noFill/>
            <a:ln w="9525" cap="flat" cmpd="sng">
              <a:solidFill>
                <a:schemeClr val="dk1"/>
              </a:solidFill>
              <a:prstDash val="solid"/>
              <a:round/>
              <a:headEnd type="none" w="med" len="med"/>
              <a:tailEnd type="none" w="med" len="med"/>
            </a:ln>
          </p:spPr>
        </p:cxnSp>
        <p:cxnSp>
          <p:nvCxnSpPr>
            <p:cNvPr id="293" name="Google Shape;293;p20"/>
            <p:cNvCxnSpPr>
              <a:endCxn id="287" idx="0"/>
            </p:cNvCxnSpPr>
            <p:nvPr/>
          </p:nvCxnSpPr>
          <p:spPr>
            <a:xfrm>
              <a:off x="8807710" y="-152"/>
              <a:ext cx="0" cy="4690200"/>
            </a:xfrm>
            <a:prstGeom prst="straightConnector1">
              <a:avLst/>
            </a:prstGeom>
            <a:noFill/>
            <a:ln w="9525" cap="flat" cmpd="sng">
              <a:solidFill>
                <a:schemeClr val="dk1"/>
              </a:solidFill>
              <a:prstDash val="solid"/>
              <a:round/>
              <a:headEnd type="none" w="med" len="med"/>
              <a:tailEnd type="none" w="med" len="med"/>
            </a:ln>
          </p:spPr>
        </p:cxnSp>
      </p:grpSp>
      <p:sp>
        <p:nvSpPr>
          <p:cNvPr id="2" name="Foliennummernplatzhalter 1">
            <a:extLst>
              <a:ext uri="{FF2B5EF4-FFF2-40B4-BE49-F238E27FC236}">
                <a16:creationId xmlns:a16="http://schemas.microsoft.com/office/drawing/2014/main" id="{95791FDA-5998-A60A-38CE-0AD4491BB448}"/>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55"/>
        <p:cNvGrpSpPr/>
        <p:nvPr/>
      </p:nvGrpSpPr>
      <p:grpSpPr>
        <a:xfrm>
          <a:off x="0" y="0"/>
          <a:ext cx="0" cy="0"/>
          <a:chOff x="0" y="0"/>
          <a:chExt cx="0" cy="0"/>
        </a:xfrm>
      </p:grpSpPr>
      <p:sp>
        <p:nvSpPr>
          <p:cNvPr id="56" name="Google Shape;56;p5"/>
          <p:cNvSpPr txBox="1">
            <a:spLocks noGrp="1"/>
          </p:cNvSpPr>
          <p:nvPr>
            <p:ph type="title"/>
          </p:nvPr>
        </p:nvSpPr>
        <p:spPr>
          <a:xfrm>
            <a:off x="595250" y="1121461"/>
            <a:ext cx="6369175" cy="1190474"/>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7" name="Google Shape;57;p5"/>
          <p:cNvSpPr txBox="1">
            <a:spLocks noGrp="1"/>
          </p:cNvSpPr>
          <p:nvPr>
            <p:ph type="subTitle" idx="1"/>
          </p:nvPr>
        </p:nvSpPr>
        <p:spPr>
          <a:xfrm>
            <a:off x="1236849" y="7614736"/>
            <a:ext cx="5594110" cy="1955608"/>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b="0"/>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58" name="Google Shape;58;p5"/>
          <p:cNvSpPr txBox="1">
            <a:spLocks noGrp="1"/>
          </p:cNvSpPr>
          <p:nvPr>
            <p:ph type="subTitle" idx="2"/>
          </p:nvPr>
        </p:nvSpPr>
        <p:spPr>
          <a:xfrm>
            <a:off x="1236662" y="3947769"/>
            <a:ext cx="5594110" cy="1955607"/>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b="0"/>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59" name="Google Shape;59;p5"/>
          <p:cNvSpPr txBox="1">
            <a:spLocks noGrp="1"/>
          </p:cNvSpPr>
          <p:nvPr>
            <p:ph type="subTitle" idx="3"/>
          </p:nvPr>
        </p:nvSpPr>
        <p:spPr>
          <a:xfrm>
            <a:off x="1236663" y="2902598"/>
            <a:ext cx="5594110" cy="1045172"/>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60" name="Google Shape;60;p5"/>
          <p:cNvSpPr txBox="1">
            <a:spLocks noGrp="1"/>
          </p:cNvSpPr>
          <p:nvPr>
            <p:ph type="subTitle" idx="4"/>
          </p:nvPr>
        </p:nvSpPr>
        <p:spPr>
          <a:xfrm>
            <a:off x="1236853" y="6569567"/>
            <a:ext cx="5594110" cy="1045172"/>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grpSp>
        <p:nvGrpSpPr>
          <p:cNvPr id="61" name="Google Shape;61;p5"/>
          <p:cNvGrpSpPr/>
          <p:nvPr/>
        </p:nvGrpSpPr>
        <p:grpSpPr>
          <a:xfrm>
            <a:off x="22" y="-54674"/>
            <a:ext cx="7559645" cy="11548655"/>
            <a:chOff x="26" y="-26302"/>
            <a:chExt cx="9143964" cy="5555700"/>
          </a:xfrm>
        </p:grpSpPr>
        <p:grpSp>
          <p:nvGrpSpPr>
            <p:cNvPr id="62" name="Google Shape;62;p5"/>
            <p:cNvGrpSpPr/>
            <p:nvPr/>
          </p:nvGrpSpPr>
          <p:grpSpPr>
            <a:xfrm flipH="1">
              <a:off x="26" y="-26302"/>
              <a:ext cx="1357398" cy="5555700"/>
              <a:chOff x="7798852" y="-39350"/>
              <a:chExt cx="1357398" cy="5555700"/>
            </a:xfrm>
          </p:grpSpPr>
          <p:sp>
            <p:nvSpPr>
              <p:cNvPr id="63" name="Google Shape;63;p5"/>
              <p:cNvSpPr/>
              <p:nvPr/>
            </p:nvSpPr>
            <p:spPr>
              <a:xfrm rot="5400000">
                <a:off x="8217575" y="478585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64" name="Google Shape;64;p5"/>
              <p:cNvSpPr/>
              <p:nvPr/>
            </p:nvSpPr>
            <p:spPr>
              <a:xfrm flipH="1">
                <a:off x="7911559" y="204768"/>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65" name="Google Shape;65;p5"/>
              <p:cNvSpPr/>
              <p:nvPr/>
            </p:nvSpPr>
            <p:spPr>
              <a:xfrm flipH="1">
                <a:off x="7882332" y="190767"/>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66" name="Google Shape;66;p5"/>
              <p:cNvSpPr/>
              <p:nvPr/>
            </p:nvSpPr>
            <p:spPr>
              <a:xfrm flipH="1">
                <a:off x="7798852" y="306274"/>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67" name="Google Shape;67;p5"/>
              <p:cNvSpPr/>
              <p:nvPr/>
            </p:nvSpPr>
            <p:spPr>
              <a:xfrm flipH="1">
                <a:off x="7798852" y="232420"/>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68" name="Google Shape;68;p5"/>
              <p:cNvCxnSpPr/>
              <p:nvPr/>
            </p:nvCxnSpPr>
            <p:spPr>
              <a:xfrm>
                <a:off x="8099950" y="278675"/>
                <a:ext cx="1056300" cy="0"/>
              </a:xfrm>
              <a:prstGeom prst="straightConnector1">
                <a:avLst/>
              </a:prstGeom>
              <a:noFill/>
              <a:ln w="9525" cap="flat" cmpd="sng">
                <a:solidFill>
                  <a:schemeClr val="dk1"/>
                </a:solidFill>
                <a:prstDash val="solid"/>
                <a:round/>
                <a:headEnd type="none" w="med" len="med"/>
                <a:tailEnd type="none" w="med" len="med"/>
              </a:ln>
            </p:spPr>
          </p:cxnSp>
          <p:cxnSp>
            <p:nvCxnSpPr>
              <p:cNvPr id="69" name="Google Shape;69;p5"/>
              <p:cNvCxnSpPr/>
              <p:nvPr/>
            </p:nvCxnSpPr>
            <p:spPr>
              <a:xfrm rot="10800000">
                <a:off x="8805875" y="-39350"/>
                <a:ext cx="0" cy="4379100"/>
              </a:xfrm>
              <a:prstGeom prst="straightConnector1">
                <a:avLst/>
              </a:prstGeom>
              <a:noFill/>
              <a:ln w="9525" cap="flat" cmpd="sng">
                <a:solidFill>
                  <a:schemeClr val="dk1"/>
                </a:solidFill>
                <a:prstDash val="solid"/>
                <a:round/>
                <a:headEnd type="none" w="med" len="med"/>
                <a:tailEnd type="none" w="med" len="med"/>
              </a:ln>
            </p:spPr>
          </p:cxnSp>
        </p:grpSp>
        <p:sp>
          <p:nvSpPr>
            <p:cNvPr id="70" name="Google Shape;70;p5"/>
            <p:cNvSpPr/>
            <p:nvPr/>
          </p:nvSpPr>
          <p:spPr>
            <a:xfrm flipH="1">
              <a:off x="8630270" y="3802368"/>
              <a:ext cx="513720" cy="1424520"/>
            </a:xfrm>
            <a:custGeom>
              <a:avLst/>
              <a:gdLst/>
              <a:ahLst/>
              <a:cxnLst/>
              <a:rect l="l" t="t" r="r" b="b"/>
              <a:pathLst>
                <a:path w="1427" h="3957" fill="none" extrusionOk="0">
                  <a:moveTo>
                    <a:pt x="0" y="0"/>
                  </a:moveTo>
                  <a:lnTo>
                    <a:pt x="0" y="0"/>
                  </a:lnTo>
                  <a:cubicBezTo>
                    <a:pt x="959" y="0"/>
                    <a:pt x="959" y="0"/>
                    <a:pt x="959" y="0"/>
                  </a:cubicBezTo>
                  <a:cubicBezTo>
                    <a:pt x="1216" y="0"/>
                    <a:pt x="1427" y="207"/>
                    <a:pt x="1427" y="465"/>
                  </a:cubicBezTo>
                  <a:cubicBezTo>
                    <a:pt x="1427" y="3957"/>
                    <a:pt x="1427" y="3957"/>
                    <a:pt x="1427" y="3957"/>
                  </a:cubicBezTo>
                </a:path>
              </a:pathLst>
            </a:custGeom>
            <a:noFill/>
            <a:ln w="9525" cap="rnd" cmpd="sng">
              <a:solidFill>
                <a:schemeClr val="dk1"/>
              </a:solidFill>
              <a:prstDash val="solid"/>
              <a:round/>
              <a:headEnd type="none" w="sm" len="sm"/>
              <a:tailEnd type="none" w="sm" len="sm"/>
            </a:ln>
          </p:spPr>
          <p:txBody>
            <a:bodyPr spcFirstLastPara="1" wrap="square" lIns="92500" tIns="47500" rIns="92500" bIns="475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sp>
        <p:nvSpPr>
          <p:cNvPr id="71" name="Google Shape;71;p5"/>
          <p:cNvSpPr/>
          <p:nvPr/>
        </p:nvSpPr>
        <p:spPr>
          <a:xfrm>
            <a:off x="6830772" y="-784996"/>
            <a:ext cx="1837834" cy="1779461"/>
          </a:xfrm>
          <a:prstGeom prst="ellipse">
            <a:avLst/>
          </a:prstGeom>
          <a:solidFill>
            <a:srgbClr val="A15315">
              <a:alpha val="16460"/>
            </a:srgb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 name="Foliennummernplatzhalter 1">
            <a:extLst>
              <a:ext uri="{FF2B5EF4-FFF2-40B4-BE49-F238E27FC236}">
                <a16:creationId xmlns:a16="http://schemas.microsoft.com/office/drawing/2014/main" id="{7260C281-3029-BC6C-001B-4D47D6A4925F}"/>
              </a:ext>
            </a:extLst>
          </p:cNvPr>
          <p:cNvSpPr>
            <a:spLocks noGrp="1"/>
          </p:cNvSpPr>
          <p:nvPr>
            <p:ph type="sldNum" sz="quarter" idx="10"/>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2"/>
        <p:cNvGrpSpPr/>
        <p:nvPr/>
      </p:nvGrpSpPr>
      <p:grpSpPr>
        <a:xfrm>
          <a:off x="0" y="0"/>
          <a:ext cx="0" cy="0"/>
          <a:chOff x="0" y="0"/>
          <a:chExt cx="0" cy="0"/>
        </a:xfrm>
      </p:grpSpPr>
      <p:grpSp>
        <p:nvGrpSpPr>
          <p:cNvPr id="11" name="Gruppieren 10">
            <a:extLst>
              <a:ext uri="{FF2B5EF4-FFF2-40B4-BE49-F238E27FC236}">
                <a16:creationId xmlns:a16="http://schemas.microsoft.com/office/drawing/2014/main" id="{689FD61C-3776-FC37-4910-7A6831805C9E}"/>
              </a:ext>
            </a:extLst>
          </p:cNvPr>
          <p:cNvGrpSpPr/>
          <p:nvPr userDrawn="1"/>
        </p:nvGrpSpPr>
        <p:grpSpPr>
          <a:xfrm>
            <a:off x="-336634" y="3487842"/>
            <a:ext cx="1152131" cy="6863589"/>
            <a:chOff x="-314862" y="3705556"/>
            <a:chExt cx="1152131" cy="6863589"/>
          </a:xfrm>
        </p:grpSpPr>
        <p:sp>
          <p:nvSpPr>
            <p:cNvPr id="74" name="Google Shape;74;p6"/>
            <p:cNvSpPr/>
            <p:nvPr/>
          </p:nvSpPr>
          <p:spPr>
            <a:xfrm>
              <a:off x="-314862" y="9874899"/>
              <a:ext cx="1152131" cy="694246"/>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cxnSp>
          <p:nvCxnSpPr>
            <p:cNvPr id="75" name="Google Shape;75;p6"/>
            <p:cNvCxnSpPr/>
            <p:nvPr/>
          </p:nvCxnSpPr>
          <p:spPr>
            <a:xfrm rot="10800000">
              <a:off x="261205" y="4126383"/>
              <a:ext cx="0" cy="5755931"/>
            </a:xfrm>
            <a:prstGeom prst="straightConnector1">
              <a:avLst/>
            </a:prstGeom>
            <a:noFill/>
            <a:ln w="9525" cap="flat" cmpd="sng">
              <a:solidFill>
                <a:schemeClr val="dk1"/>
              </a:solidFill>
              <a:prstDash val="solid"/>
              <a:round/>
              <a:headEnd type="none" w="med" len="med"/>
              <a:tailEnd type="none" w="med" len="med"/>
            </a:ln>
          </p:spPr>
        </p:cxnSp>
        <p:grpSp>
          <p:nvGrpSpPr>
            <p:cNvPr id="76" name="Google Shape;76;p6"/>
            <p:cNvGrpSpPr/>
            <p:nvPr/>
          </p:nvGrpSpPr>
          <p:grpSpPr>
            <a:xfrm rot="16200000">
              <a:off x="36935" y="3736713"/>
              <a:ext cx="448536" cy="386222"/>
              <a:chOff x="2135702" y="4668492"/>
              <a:chExt cx="303118" cy="182185"/>
            </a:xfrm>
          </p:grpSpPr>
          <p:sp>
            <p:nvSpPr>
              <p:cNvPr id="77" name="Google Shape;77;p6"/>
              <p:cNvSpPr/>
              <p:nvPr/>
            </p:nvSpPr>
            <p:spPr>
              <a:xfrm>
                <a:off x="2135702" y="468249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78" name="Google Shape;78;p6"/>
              <p:cNvSpPr/>
              <p:nvPr/>
            </p:nvSpPr>
            <p:spPr>
              <a:xfrm>
                <a:off x="2326113" y="4668492"/>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79" name="Google Shape;79;p6"/>
              <p:cNvSpPr/>
              <p:nvPr/>
            </p:nvSpPr>
            <p:spPr>
              <a:xfrm>
                <a:off x="2355340" y="4783999"/>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80" name="Google Shape;80;p6"/>
              <p:cNvSpPr/>
              <p:nvPr/>
            </p:nvSpPr>
            <p:spPr>
              <a:xfrm>
                <a:off x="2355340" y="4710145"/>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grpSp>
      <p:sp>
        <p:nvSpPr>
          <p:cNvPr id="88" name="Google Shape;88;p6"/>
          <p:cNvSpPr/>
          <p:nvPr/>
        </p:nvSpPr>
        <p:spPr>
          <a:xfrm>
            <a:off x="6402251" y="9649315"/>
            <a:ext cx="1699812" cy="1689246"/>
          </a:xfrm>
          <a:prstGeom prst="ellipse">
            <a:avLst/>
          </a:prstGeom>
          <a:solidFill>
            <a:srgbClr val="A15315">
              <a:alpha val="16460"/>
            </a:srgb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89" name="Google Shape;89;p6"/>
          <p:cNvSpPr txBox="1">
            <a:spLocks noGrp="1"/>
          </p:cNvSpPr>
          <p:nvPr>
            <p:ph type="title"/>
          </p:nvPr>
        </p:nvSpPr>
        <p:spPr>
          <a:xfrm>
            <a:off x="595250" y="1121461"/>
            <a:ext cx="6369175" cy="1190474"/>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12" name="Gruppieren 11">
            <a:extLst>
              <a:ext uri="{FF2B5EF4-FFF2-40B4-BE49-F238E27FC236}">
                <a16:creationId xmlns:a16="http://schemas.microsoft.com/office/drawing/2014/main" id="{D823FB11-0E31-C292-9291-8B476CA77618}"/>
              </a:ext>
            </a:extLst>
          </p:cNvPr>
          <p:cNvGrpSpPr/>
          <p:nvPr userDrawn="1"/>
        </p:nvGrpSpPr>
        <p:grpSpPr>
          <a:xfrm rot="10800000">
            <a:off x="6725079" y="-168308"/>
            <a:ext cx="1152131" cy="6863589"/>
            <a:chOff x="-314862" y="3705556"/>
            <a:chExt cx="1152131" cy="6863589"/>
          </a:xfrm>
        </p:grpSpPr>
        <p:sp>
          <p:nvSpPr>
            <p:cNvPr id="13" name="Google Shape;74;p6">
              <a:extLst>
                <a:ext uri="{FF2B5EF4-FFF2-40B4-BE49-F238E27FC236}">
                  <a16:creationId xmlns:a16="http://schemas.microsoft.com/office/drawing/2014/main" id="{9BA63B30-10B9-5DC8-5AF6-A2399396FACB}"/>
                </a:ext>
              </a:extLst>
            </p:cNvPr>
            <p:cNvSpPr/>
            <p:nvPr/>
          </p:nvSpPr>
          <p:spPr>
            <a:xfrm>
              <a:off x="-314862" y="9874899"/>
              <a:ext cx="1152131" cy="694246"/>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cxnSp>
          <p:nvCxnSpPr>
            <p:cNvPr id="14" name="Google Shape;75;p6">
              <a:extLst>
                <a:ext uri="{FF2B5EF4-FFF2-40B4-BE49-F238E27FC236}">
                  <a16:creationId xmlns:a16="http://schemas.microsoft.com/office/drawing/2014/main" id="{EBD81741-1ACA-5D8C-61E2-0C6C28D41A4F}"/>
                </a:ext>
              </a:extLst>
            </p:cNvPr>
            <p:cNvCxnSpPr/>
            <p:nvPr/>
          </p:nvCxnSpPr>
          <p:spPr>
            <a:xfrm rot="10800000">
              <a:off x="261205" y="4126383"/>
              <a:ext cx="0" cy="5755931"/>
            </a:xfrm>
            <a:prstGeom prst="straightConnector1">
              <a:avLst/>
            </a:prstGeom>
            <a:noFill/>
            <a:ln w="9525" cap="flat" cmpd="sng">
              <a:solidFill>
                <a:schemeClr val="dk1"/>
              </a:solidFill>
              <a:prstDash val="solid"/>
              <a:round/>
              <a:headEnd type="none" w="med" len="med"/>
              <a:tailEnd type="none" w="med" len="med"/>
            </a:ln>
          </p:spPr>
        </p:cxnSp>
        <p:grpSp>
          <p:nvGrpSpPr>
            <p:cNvPr id="15" name="Google Shape;76;p6">
              <a:extLst>
                <a:ext uri="{FF2B5EF4-FFF2-40B4-BE49-F238E27FC236}">
                  <a16:creationId xmlns:a16="http://schemas.microsoft.com/office/drawing/2014/main" id="{506BD864-ABD7-F57B-644D-9A0D3BD76531}"/>
                </a:ext>
              </a:extLst>
            </p:cNvPr>
            <p:cNvGrpSpPr/>
            <p:nvPr/>
          </p:nvGrpSpPr>
          <p:grpSpPr>
            <a:xfrm rot="16200000">
              <a:off x="36935" y="3736713"/>
              <a:ext cx="448536" cy="386222"/>
              <a:chOff x="2135702" y="4668492"/>
              <a:chExt cx="303118" cy="182185"/>
            </a:xfrm>
          </p:grpSpPr>
          <p:sp>
            <p:nvSpPr>
              <p:cNvPr id="16" name="Google Shape;77;p6">
                <a:extLst>
                  <a:ext uri="{FF2B5EF4-FFF2-40B4-BE49-F238E27FC236}">
                    <a16:creationId xmlns:a16="http://schemas.microsoft.com/office/drawing/2014/main" id="{EC225537-538F-422D-5FC1-E037F6545A2E}"/>
                  </a:ext>
                </a:extLst>
              </p:cNvPr>
              <p:cNvSpPr/>
              <p:nvPr/>
            </p:nvSpPr>
            <p:spPr>
              <a:xfrm>
                <a:off x="2135702" y="468249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 name="Google Shape;78;p6">
                <a:extLst>
                  <a:ext uri="{FF2B5EF4-FFF2-40B4-BE49-F238E27FC236}">
                    <a16:creationId xmlns:a16="http://schemas.microsoft.com/office/drawing/2014/main" id="{ED94F7A4-889A-5011-6445-434D53C94400}"/>
                  </a:ext>
                </a:extLst>
              </p:cNvPr>
              <p:cNvSpPr/>
              <p:nvPr/>
            </p:nvSpPr>
            <p:spPr>
              <a:xfrm>
                <a:off x="2326113" y="4668492"/>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8" name="Google Shape;79;p6">
                <a:extLst>
                  <a:ext uri="{FF2B5EF4-FFF2-40B4-BE49-F238E27FC236}">
                    <a16:creationId xmlns:a16="http://schemas.microsoft.com/office/drawing/2014/main" id="{3ED90230-90C9-A553-8A45-75C46612EAB0}"/>
                  </a:ext>
                </a:extLst>
              </p:cNvPr>
              <p:cNvSpPr/>
              <p:nvPr/>
            </p:nvSpPr>
            <p:spPr>
              <a:xfrm>
                <a:off x="2355340" y="4783999"/>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9" name="Google Shape;80;p6">
                <a:extLst>
                  <a:ext uri="{FF2B5EF4-FFF2-40B4-BE49-F238E27FC236}">
                    <a16:creationId xmlns:a16="http://schemas.microsoft.com/office/drawing/2014/main" id="{1105F20E-8714-7901-B035-818D7D773464}"/>
                  </a:ext>
                </a:extLst>
              </p:cNvPr>
              <p:cNvSpPr/>
              <p:nvPr/>
            </p:nvSpPr>
            <p:spPr>
              <a:xfrm>
                <a:off x="2355340" y="4710145"/>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grpSp>
      </p:grpSp>
      <p:sp>
        <p:nvSpPr>
          <p:cNvPr id="2" name="Foliennummernplatzhalter 1">
            <a:extLst>
              <a:ext uri="{FF2B5EF4-FFF2-40B4-BE49-F238E27FC236}">
                <a16:creationId xmlns:a16="http://schemas.microsoft.com/office/drawing/2014/main" id="{642EEDAB-8AB8-AA0A-A18C-6AD46E189271}"/>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90"/>
        <p:cNvGrpSpPr/>
        <p:nvPr/>
      </p:nvGrpSpPr>
      <p:grpSpPr>
        <a:xfrm>
          <a:off x="0" y="0"/>
          <a:ext cx="0" cy="0"/>
          <a:chOff x="0" y="0"/>
          <a:chExt cx="0" cy="0"/>
        </a:xfrm>
      </p:grpSpPr>
      <p:grpSp>
        <p:nvGrpSpPr>
          <p:cNvPr id="92" name="Google Shape;92;p7"/>
          <p:cNvGrpSpPr/>
          <p:nvPr/>
        </p:nvGrpSpPr>
        <p:grpSpPr>
          <a:xfrm>
            <a:off x="-101699" y="307461"/>
            <a:ext cx="5595514" cy="10412435"/>
            <a:chOff x="-123013" y="147910"/>
            <a:chExt cx="6768198" cy="5009100"/>
          </a:xfrm>
        </p:grpSpPr>
        <p:sp>
          <p:nvSpPr>
            <p:cNvPr id="93" name="Google Shape;93;p7"/>
            <p:cNvSpPr/>
            <p:nvPr/>
          </p:nvSpPr>
          <p:spPr>
            <a:xfrm rot="10800000" flipH="1">
              <a:off x="-123013" y="14791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94" name="Google Shape;94;p7"/>
            <p:cNvSpPr/>
            <p:nvPr/>
          </p:nvSpPr>
          <p:spPr>
            <a:xfrm>
              <a:off x="6342067" y="213016"/>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95" name="Google Shape;95;p7"/>
            <p:cNvSpPr/>
            <p:nvPr/>
          </p:nvSpPr>
          <p:spPr>
            <a:xfrm>
              <a:off x="6532479" y="199015"/>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96" name="Google Shape;96;p7"/>
            <p:cNvSpPr/>
            <p:nvPr/>
          </p:nvSpPr>
          <p:spPr>
            <a:xfrm>
              <a:off x="6561705" y="314522"/>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97" name="Google Shape;97;p7"/>
            <p:cNvSpPr/>
            <p:nvPr/>
          </p:nvSpPr>
          <p:spPr>
            <a:xfrm>
              <a:off x="6561705" y="240668"/>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98" name="Google Shape;98;p7"/>
            <p:cNvCxnSpPr>
              <a:endCxn id="93" idx="3"/>
            </p:cNvCxnSpPr>
            <p:nvPr/>
          </p:nvCxnSpPr>
          <p:spPr>
            <a:xfrm rot="10800000">
              <a:off x="1053587" y="290110"/>
              <a:ext cx="5285100" cy="0"/>
            </a:xfrm>
            <a:prstGeom prst="straightConnector1">
              <a:avLst/>
            </a:prstGeom>
            <a:noFill/>
            <a:ln w="9525" cap="flat" cmpd="sng">
              <a:solidFill>
                <a:schemeClr val="dk1"/>
              </a:solidFill>
              <a:prstDash val="solid"/>
              <a:round/>
              <a:headEnd type="none" w="med" len="med"/>
              <a:tailEnd type="none" w="med" len="med"/>
            </a:ln>
          </p:spPr>
        </p:cxnSp>
        <p:cxnSp>
          <p:nvCxnSpPr>
            <p:cNvPr id="99" name="Google Shape;99;p7"/>
            <p:cNvCxnSpPr>
              <a:endCxn id="93" idx="0"/>
            </p:cNvCxnSpPr>
            <p:nvPr/>
          </p:nvCxnSpPr>
          <p:spPr>
            <a:xfrm rot="10800000">
              <a:off x="465287" y="432310"/>
              <a:ext cx="0" cy="4724700"/>
            </a:xfrm>
            <a:prstGeom prst="straightConnector1">
              <a:avLst/>
            </a:prstGeom>
            <a:noFill/>
            <a:ln w="9525" cap="flat" cmpd="sng">
              <a:solidFill>
                <a:schemeClr val="dk1"/>
              </a:solidFill>
              <a:prstDash val="solid"/>
              <a:round/>
              <a:headEnd type="none" w="med" len="med"/>
              <a:tailEnd type="none" w="med" len="med"/>
            </a:ln>
          </p:spPr>
        </p:cxnSp>
      </p:grpSp>
      <p:sp>
        <p:nvSpPr>
          <p:cNvPr id="100" name="Google Shape;100;p7"/>
          <p:cNvSpPr>
            <a:spLocks noGrp="1"/>
          </p:cNvSpPr>
          <p:nvPr>
            <p:ph type="pic" idx="2"/>
          </p:nvPr>
        </p:nvSpPr>
        <p:spPr>
          <a:xfrm>
            <a:off x="589649" y="2813058"/>
            <a:ext cx="3031063" cy="6757450"/>
          </a:xfrm>
          <a:prstGeom prst="rect">
            <a:avLst/>
          </a:prstGeom>
          <a:noFill/>
          <a:ln w="9525" cap="flat" cmpd="sng">
            <a:solidFill>
              <a:schemeClr val="dk1"/>
            </a:solidFill>
            <a:prstDash val="dash"/>
            <a:round/>
            <a:headEnd type="none" w="sm" len="sm"/>
            <a:tailEnd type="none" w="sm" len="sm"/>
          </a:ln>
        </p:spPr>
      </p:sp>
      <p:sp>
        <p:nvSpPr>
          <p:cNvPr id="101" name="Google Shape;101;p7"/>
          <p:cNvSpPr txBox="1">
            <a:spLocks noGrp="1"/>
          </p:cNvSpPr>
          <p:nvPr>
            <p:ph type="title"/>
          </p:nvPr>
        </p:nvSpPr>
        <p:spPr>
          <a:xfrm>
            <a:off x="589649" y="1121461"/>
            <a:ext cx="6380088" cy="1197333"/>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02" name="Google Shape;102;p7"/>
          <p:cNvSpPr txBox="1">
            <a:spLocks noGrp="1"/>
          </p:cNvSpPr>
          <p:nvPr>
            <p:ph type="subTitle" idx="1"/>
          </p:nvPr>
        </p:nvSpPr>
        <p:spPr>
          <a:xfrm>
            <a:off x="3734367" y="2813058"/>
            <a:ext cx="3235432" cy="675745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Char char="☐"/>
              <a:defRPr/>
            </a:lvl1pPr>
            <a:lvl2pPr lvl="1" algn="ctr" rtl="0">
              <a:lnSpc>
                <a:spcPct val="115000"/>
              </a:lnSpc>
              <a:spcBef>
                <a:spcPts val="0"/>
              </a:spcBef>
              <a:spcAft>
                <a:spcPts val="0"/>
              </a:spcAft>
              <a:buClr>
                <a:srgbClr val="E76A28"/>
              </a:buClr>
              <a:buSzPts val="1600"/>
              <a:buFont typeface="Nunito Light"/>
              <a:buChar char="○"/>
              <a:defRPr/>
            </a:lvl2pPr>
            <a:lvl3pPr lvl="2" algn="ctr" rtl="0">
              <a:lnSpc>
                <a:spcPct val="115000"/>
              </a:lnSpc>
              <a:spcBef>
                <a:spcPts val="0"/>
              </a:spcBef>
              <a:spcAft>
                <a:spcPts val="0"/>
              </a:spcAft>
              <a:buClr>
                <a:srgbClr val="E76A28"/>
              </a:buClr>
              <a:buSzPts val="1500"/>
              <a:buFont typeface="Nunito Light"/>
              <a:buChar char="■"/>
              <a:defRPr/>
            </a:lvl3pPr>
            <a:lvl4pPr lvl="3" algn="ctr" rtl="0">
              <a:lnSpc>
                <a:spcPct val="115000"/>
              </a:lnSpc>
              <a:spcBef>
                <a:spcPts val="0"/>
              </a:spcBef>
              <a:spcAft>
                <a:spcPts val="0"/>
              </a:spcAft>
              <a:buClr>
                <a:srgbClr val="E76A28"/>
              </a:buClr>
              <a:buSzPts val="1500"/>
              <a:buFont typeface="Nunito Light"/>
              <a:buChar char="●"/>
              <a:defRPr/>
            </a:lvl4pPr>
            <a:lvl5pPr lvl="4" algn="ctr" rtl="0">
              <a:lnSpc>
                <a:spcPct val="115000"/>
              </a:lnSpc>
              <a:spcBef>
                <a:spcPts val="0"/>
              </a:spcBef>
              <a:spcAft>
                <a:spcPts val="0"/>
              </a:spcAft>
              <a:buClr>
                <a:srgbClr val="E76A28"/>
              </a:buClr>
              <a:buSzPts val="1400"/>
              <a:buFont typeface="Nunito Light"/>
              <a:buChar char="○"/>
              <a:defRPr/>
            </a:lvl5pPr>
            <a:lvl6pPr lvl="5" algn="ctr" rtl="0">
              <a:lnSpc>
                <a:spcPct val="115000"/>
              </a:lnSpc>
              <a:spcBef>
                <a:spcPts val="0"/>
              </a:spcBef>
              <a:spcAft>
                <a:spcPts val="0"/>
              </a:spcAft>
              <a:buClr>
                <a:srgbClr val="999999"/>
              </a:buClr>
              <a:buSzPts val="1400"/>
              <a:buFont typeface="Nunito Light"/>
              <a:buChar char="■"/>
              <a:defRPr/>
            </a:lvl6pPr>
            <a:lvl7pPr lvl="6" algn="ctr" rtl="0">
              <a:lnSpc>
                <a:spcPct val="115000"/>
              </a:lnSpc>
              <a:spcBef>
                <a:spcPts val="0"/>
              </a:spcBef>
              <a:spcAft>
                <a:spcPts val="0"/>
              </a:spcAft>
              <a:buClr>
                <a:srgbClr val="999999"/>
              </a:buClr>
              <a:buSzPts val="1300"/>
              <a:buFont typeface="Nunito Light"/>
              <a:buChar char="●"/>
              <a:defRPr/>
            </a:lvl7pPr>
            <a:lvl8pPr lvl="7" algn="ctr" rtl="0">
              <a:lnSpc>
                <a:spcPct val="115000"/>
              </a:lnSpc>
              <a:spcBef>
                <a:spcPts val="0"/>
              </a:spcBef>
              <a:spcAft>
                <a:spcPts val="0"/>
              </a:spcAft>
              <a:buClr>
                <a:srgbClr val="999999"/>
              </a:buClr>
              <a:buSzPts val="1300"/>
              <a:buFont typeface="Nunito Light"/>
              <a:buChar char="○"/>
              <a:defRPr/>
            </a:lvl8pPr>
            <a:lvl9pPr lvl="8" algn="ctr" rtl="0">
              <a:lnSpc>
                <a:spcPct val="115000"/>
              </a:lnSpc>
              <a:spcBef>
                <a:spcPts val="0"/>
              </a:spcBef>
              <a:spcAft>
                <a:spcPts val="0"/>
              </a:spcAft>
              <a:buClr>
                <a:srgbClr val="999999"/>
              </a:buClr>
              <a:buSzPts val="1400"/>
              <a:buFont typeface="Nunito Light"/>
              <a:buChar char="■"/>
              <a:defRPr/>
            </a:lvl9pPr>
          </a:lstStyle>
          <a:p>
            <a:endParaRPr/>
          </a:p>
        </p:txBody>
      </p:sp>
      <p:sp>
        <p:nvSpPr>
          <p:cNvPr id="2" name="Google Shape;88;p6">
            <a:extLst>
              <a:ext uri="{FF2B5EF4-FFF2-40B4-BE49-F238E27FC236}">
                <a16:creationId xmlns:a16="http://schemas.microsoft.com/office/drawing/2014/main" id="{40CD9D3D-1B30-4252-0588-4F6F448A5892}"/>
              </a:ext>
            </a:extLst>
          </p:cNvPr>
          <p:cNvSpPr/>
          <p:nvPr userDrawn="1"/>
        </p:nvSpPr>
        <p:spPr>
          <a:xfrm>
            <a:off x="6402251" y="9649315"/>
            <a:ext cx="1699812" cy="1689246"/>
          </a:xfrm>
          <a:prstGeom prst="ellipse">
            <a:avLst/>
          </a:prstGeom>
          <a:solidFill>
            <a:srgbClr val="A15315">
              <a:alpha val="16460"/>
            </a:srgb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3" name="Foliennummernplatzhalter 1">
            <a:extLst>
              <a:ext uri="{FF2B5EF4-FFF2-40B4-BE49-F238E27FC236}">
                <a16:creationId xmlns:a16="http://schemas.microsoft.com/office/drawing/2014/main" id="{84F07C89-F943-7807-269A-351F118DA317}"/>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03"/>
        <p:cNvGrpSpPr/>
        <p:nvPr/>
      </p:nvGrpSpPr>
      <p:grpSpPr>
        <a:xfrm>
          <a:off x="0" y="0"/>
          <a:ext cx="0" cy="0"/>
          <a:chOff x="0" y="0"/>
          <a:chExt cx="0" cy="0"/>
        </a:xfrm>
      </p:grpSpPr>
      <p:sp>
        <p:nvSpPr>
          <p:cNvPr id="105" name="Google Shape;105;p8"/>
          <p:cNvSpPr/>
          <p:nvPr/>
        </p:nvSpPr>
        <p:spPr>
          <a:xfrm>
            <a:off x="6804088" y="3787140"/>
            <a:ext cx="3140011" cy="3418394"/>
          </a:xfrm>
          <a:prstGeom prst="ellipse">
            <a:avLst/>
          </a:prstGeom>
          <a:solidFill>
            <a:srgbClr val="A15315">
              <a:alpha val="1646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06" name="Google Shape;106;p8"/>
          <p:cNvSpPr/>
          <p:nvPr/>
        </p:nvSpPr>
        <p:spPr>
          <a:xfrm>
            <a:off x="-906779" y="8899793"/>
            <a:ext cx="3550920" cy="3711308"/>
          </a:xfrm>
          <a:prstGeom prst="ellipse">
            <a:avLst/>
          </a:prstGeom>
          <a:solidFill>
            <a:srgbClr val="A15315">
              <a:alpha val="1646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107" name="Google Shape;107;p8"/>
          <p:cNvGrpSpPr/>
          <p:nvPr/>
        </p:nvGrpSpPr>
        <p:grpSpPr>
          <a:xfrm>
            <a:off x="6598920" y="1095950"/>
            <a:ext cx="1568179" cy="8797939"/>
            <a:chOff x="8600525" y="613700"/>
            <a:chExt cx="1278200" cy="4132500"/>
          </a:xfrm>
        </p:grpSpPr>
        <p:sp>
          <p:nvSpPr>
            <p:cNvPr id="108" name="Google Shape;108;p8"/>
            <p:cNvSpPr/>
            <p:nvPr/>
          </p:nvSpPr>
          <p:spPr>
            <a:xfrm>
              <a:off x="8600525" y="446180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09" name="Google Shape;109;p8"/>
            <p:cNvSpPr/>
            <p:nvPr/>
          </p:nvSpPr>
          <p:spPr>
            <a:xfrm>
              <a:off x="8702125" y="61370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sp>
        <p:nvSpPr>
          <p:cNvPr id="110" name="Google Shape;110;p8"/>
          <p:cNvSpPr txBox="1">
            <a:spLocks noGrp="1"/>
          </p:cNvSpPr>
          <p:nvPr>
            <p:ph type="title"/>
          </p:nvPr>
        </p:nvSpPr>
        <p:spPr>
          <a:xfrm>
            <a:off x="589649" y="2861440"/>
            <a:ext cx="4237436" cy="4968934"/>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3059"/>
            </a:lvl1pPr>
            <a:lvl2pPr lvl="1">
              <a:spcBef>
                <a:spcPts val="0"/>
              </a:spcBef>
              <a:spcAft>
                <a:spcPts val="0"/>
              </a:spcAft>
              <a:buSzPts val="4800"/>
              <a:buNone/>
              <a:defRPr sz="3968"/>
            </a:lvl2pPr>
            <a:lvl3pPr lvl="2">
              <a:spcBef>
                <a:spcPts val="0"/>
              </a:spcBef>
              <a:spcAft>
                <a:spcPts val="0"/>
              </a:spcAft>
              <a:buSzPts val="4800"/>
              <a:buNone/>
              <a:defRPr sz="3968"/>
            </a:lvl3pPr>
            <a:lvl4pPr lvl="3">
              <a:spcBef>
                <a:spcPts val="0"/>
              </a:spcBef>
              <a:spcAft>
                <a:spcPts val="0"/>
              </a:spcAft>
              <a:buSzPts val="4800"/>
              <a:buNone/>
              <a:defRPr sz="3968"/>
            </a:lvl4pPr>
            <a:lvl5pPr lvl="4">
              <a:spcBef>
                <a:spcPts val="0"/>
              </a:spcBef>
              <a:spcAft>
                <a:spcPts val="0"/>
              </a:spcAft>
              <a:buSzPts val="4800"/>
              <a:buNone/>
              <a:defRPr sz="3968"/>
            </a:lvl5pPr>
            <a:lvl6pPr lvl="5">
              <a:spcBef>
                <a:spcPts val="0"/>
              </a:spcBef>
              <a:spcAft>
                <a:spcPts val="0"/>
              </a:spcAft>
              <a:buSzPts val="4800"/>
              <a:buNone/>
              <a:defRPr sz="3968"/>
            </a:lvl6pPr>
            <a:lvl7pPr lvl="6">
              <a:spcBef>
                <a:spcPts val="0"/>
              </a:spcBef>
              <a:spcAft>
                <a:spcPts val="0"/>
              </a:spcAft>
              <a:buSzPts val="4800"/>
              <a:buNone/>
              <a:defRPr sz="3968"/>
            </a:lvl7pPr>
            <a:lvl8pPr lvl="7">
              <a:spcBef>
                <a:spcPts val="0"/>
              </a:spcBef>
              <a:spcAft>
                <a:spcPts val="0"/>
              </a:spcAft>
              <a:buSzPts val="4800"/>
              <a:buNone/>
              <a:defRPr sz="3968"/>
            </a:lvl8pPr>
            <a:lvl9pPr lvl="8">
              <a:spcBef>
                <a:spcPts val="0"/>
              </a:spcBef>
              <a:spcAft>
                <a:spcPts val="0"/>
              </a:spcAft>
              <a:buSzPts val="4800"/>
              <a:buNone/>
              <a:defRPr sz="3968"/>
            </a:lvl9pPr>
          </a:lstStyle>
          <a:p>
            <a:endParaRPr/>
          </a:p>
        </p:txBody>
      </p:sp>
      <p:sp>
        <p:nvSpPr>
          <p:cNvPr id="2" name="Foliennummernplatzhalter 1">
            <a:extLst>
              <a:ext uri="{FF2B5EF4-FFF2-40B4-BE49-F238E27FC236}">
                <a16:creationId xmlns:a16="http://schemas.microsoft.com/office/drawing/2014/main" id="{4ABEFD9A-6AFD-D652-0776-916367286485}"/>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26"/>
        <p:cNvGrpSpPr/>
        <p:nvPr/>
      </p:nvGrpSpPr>
      <p:grpSpPr>
        <a:xfrm>
          <a:off x="0" y="0"/>
          <a:ext cx="0" cy="0"/>
          <a:chOff x="0" y="0"/>
          <a:chExt cx="0" cy="0"/>
        </a:xfrm>
      </p:grpSpPr>
      <p:sp>
        <p:nvSpPr>
          <p:cNvPr id="127" name="Google Shape;127;p10"/>
          <p:cNvSpPr>
            <a:spLocks noGrp="1"/>
          </p:cNvSpPr>
          <p:nvPr>
            <p:ph type="pic" idx="2"/>
          </p:nvPr>
        </p:nvSpPr>
        <p:spPr>
          <a:xfrm>
            <a:off x="1" y="-14345"/>
            <a:ext cx="7559675" cy="10720499"/>
          </a:xfrm>
          <a:prstGeom prst="rect">
            <a:avLst/>
          </a:prstGeom>
          <a:noFill/>
          <a:ln>
            <a:noFill/>
          </a:ln>
        </p:spPr>
      </p:sp>
      <p:sp>
        <p:nvSpPr>
          <p:cNvPr id="128" name="Google Shape;128;p10"/>
          <p:cNvSpPr txBox="1">
            <a:spLocks noGrp="1"/>
          </p:cNvSpPr>
          <p:nvPr>
            <p:ph type="title"/>
          </p:nvPr>
        </p:nvSpPr>
        <p:spPr>
          <a:xfrm>
            <a:off x="595250" y="1121461"/>
            <a:ext cx="3106957" cy="1489183"/>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t" anchorCtr="0">
            <a:noAutofit/>
          </a:bodyPr>
          <a:lstStyle>
            <a:lvl1pPr lvl="0" algn="ctr" rtl="0">
              <a:spcBef>
                <a:spcPts val="0"/>
              </a:spcBef>
              <a:spcAft>
                <a:spcPts val="0"/>
              </a:spcAft>
              <a:buSzPts val="1800"/>
              <a:buNone/>
              <a:defRPr sz="1488"/>
            </a:lvl1pPr>
            <a:lvl2pPr lvl="1" algn="ctr" rtl="0">
              <a:spcBef>
                <a:spcPts val="0"/>
              </a:spcBef>
              <a:spcAft>
                <a:spcPts val="0"/>
              </a:spcAft>
              <a:buSzPts val="1800"/>
              <a:buNone/>
              <a:defRPr sz="1488"/>
            </a:lvl2pPr>
            <a:lvl3pPr lvl="2" algn="ctr" rtl="0">
              <a:spcBef>
                <a:spcPts val="0"/>
              </a:spcBef>
              <a:spcAft>
                <a:spcPts val="0"/>
              </a:spcAft>
              <a:buSzPts val="1800"/>
              <a:buNone/>
              <a:defRPr sz="1488"/>
            </a:lvl3pPr>
            <a:lvl4pPr lvl="3" algn="ctr" rtl="0">
              <a:spcBef>
                <a:spcPts val="0"/>
              </a:spcBef>
              <a:spcAft>
                <a:spcPts val="0"/>
              </a:spcAft>
              <a:buSzPts val="1800"/>
              <a:buNone/>
              <a:defRPr sz="1488"/>
            </a:lvl4pPr>
            <a:lvl5pPr lvl="4" algn="ctr" rtl="0">
              <a:spcBef>
                <a:spcPts val="0"/>
              </a:spcBef>
              <a:spcAft>
                <a:spcPts val="0"/>
              </a:spcAft>
              <a:buSzPts val="1800"/>
              <a:buNone/>
              <a:defRPr sz="1488"/>
            </a:lvl5pPr>
            <a:lvl6pPr lvl="5" algn="ctr" rtl="0">
              <a:spcBef>
                <a:spcPts val="0"/>
              </a:spcBef>
              <a:spcAft>
                <a:spcPts val="0"/>
              </a:spcAft>
              <a:buSzPts val="1800"/>
              <a:buNone/>
              <a:defRPr sz="1488"/>
            </a:lvl6pPr>
            <a:lvl7pPr lvl="6" algn="ctr" rtl="0">
              <a:spcBef>
                <a:spcPts val="0"/>
              </a:spcBef>
              <a:spcAft>
                <a:spcPts val="0"/>
              </a:spcAft>
              <a:buSzPts val="1800"/>
              <a:buNone/>
              <a:defRPr sz="1488"/>
            </a:lvl7pPr>
            <a:lvl8pPr lvl="7" algn="ctr" rtl="0">
              <a:spcBef>
                <a:spcPts val="0"/>
              </a:spcBef>
              <a:spcAft>
                <a:spcPts val="0"/>
              </a:spcAft>
              <a:buSzPts val="1800"/>
              <a:buNone/>
              <a:defRPr sz="1488"/>
            </a:lvl8pPr>
            <a:lvl9pPr lvl="8" algn="ctr" rtl="0">
              <a:spcBef>
                <a:spcPts val="0"/>
              </a:spcBef>
              <a:spcAft>
                <a:spcPts val="0"/>
              </a:spcAft>
              <a:buSzPts val="1800"/>
              <a:buNone/>
              <a:defRPr sz="1488"/>
            </a:lvl9pPr>
          </a:lstStyle>
          <a:p>
            <a:endParaRPr/>
          </a:p>
        </p:txBody>
      </p:sp>
      <p:sp>
        <p:nvSpPr>
          <p:cNvPr id="2" name="Foliennummernplatzhalter 1">
            <a:extLst>
              <a:ext uri="{FF2B5EF4-FFF2-40B4-BE49-F238E27FC236}">
                <a16:creationId xmlns:a16="http://schemas.microsoft.com/office/drawing/2014/main" id="{CD2ACF65-2144-A344-CC9F-5E30961020ED}"/>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extLst>
    <p:ext uri="{DCECCB84-F9BA-43D5-87BE-67443E8EF086}">
      <p15:sldGuideLst xmlns:p15="http://schemas.microsoft.com/office/powerpoint/2012/main">
        <p15:guide id="1" orient="horz" pos="3367" userDrawn="1">
          <p15:clr>
            <a:srgbClr val="FBAE40"/>
          </p15:clr>
        </p15:guide>
        <p15:guide id="2" pos="238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four columns">
  <p:cSld name="CUSTOM_5">
    <p:spTree>
      <p:nvGrpSpPr>
        <p:cNvPr id="1" name="Shape 159"/>
        <p:cNvGrpSpPr/>
        <p:nvPr/>
      </p:nvGrpSpPr>
      <p:grpSpPr>
        <a:xfrm>
          <a:off x="0" y="0"/>
          <a:ext cx="0" cy="0"/>
          <a:chOff x="0" y="0"/>
          <a:chExt cx="0" cy="0"/>
        </a:xfrm>
      </p:grpSpPr>
      <p:grpSp>
        <p:nvGrpSpPr>
          <p:cNvPr id="160" name="Google Shape;160;p14"/>
          <p:cNvGrpSpPr/>
          <p:nvPr/>
        </p:nvGrpSpPr>
        <p:grpSpPr>
          <a:xfrm>
            <a:off x="-5217" y="-873783"/>
            <a:ext cx="7564106" cy="12340641"/>
            <a:chOff x="-6310" y="-420350"/>
            <a:chExt cx="9149360" cy="5936700"/>
          </a:xfrm>
        </p:grpSpPr>
        <p:grpSp>
          <p:nvGrpSpPr>
            <p:cNvPr id="161" name="Google Shape;161;p14"/>
            <p:cNvGrpSpPr/>
            <p:nvPr/>
          </p:nvGrpSpPr>
          <p:grpSpPr>
            <a:xfrm>
              <a:off x="7798852" y="-39350"/>
              <a:ext cx="1344198" cy="5555700"/>
              <a:chOff x="7798852" y="-39350"/>
              <a:chExt cx="1344198" cy="5555700"/>
            </a:xfrm>
          </p:grpSpPr>
          <p:sp>
            <p:nvSpPr>
              <p:cNvPr id="162" name="Google Shape;162;p14"/>
              <p:cNvSpPr/>
              <p:nvPr/>
            </p:nvSpPr>
            <p:spPr>
              <a:xfrm rot="5400000">
                <a:off x="8217575" y="478585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63" name="Google Shape;163;p14"/>
              <p:cNvSpPr/>
              <p:nvPr/>
            </p:nvSpPr>
            <p:spPr>
              <a:xfrm flipH="1">
                <a:off x="7911559" y="204768"/>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64" name="Google Shape;164;p14"/>
              <p:cNvSpPr/>
              <p:nvPr/>
            </p:nvSpPr>
            <p:spPr>
              <a:xfrm flipH="1">
                <a:off x="7882332" y="190767"/>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65" name="Google Shape;165;p14"/>
              <p:cNvSpPr/>
              <p:nvPr/>
            </p:nvSpPr>
            <p:spPr>
              <a:xfrm flipH="1">
                <a:off x="7798852" y="306274"/>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66" name="Google Shape;166;p14"/>
              <p:cNvSpPr/>
              <p:nvPr/>
            </p:nvSpPr>
            <p:spPr>
              <a:xfrm flipH="1">
                <a:off x="7798852" y="232420"/>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167" name="Google Shape;167;p14"/>
              <p:cNvCxnSpPr/>
              <p:nvPr/>
            </p:nvCxnSpPr>
            <p:spPr>
              <a:xfrm>
                <a:off x="8099950" y="278675"/>
                <a:ext cx="1043100" cy="0"/>
              </a:xfrm>
              <a:prstGeom prst="straightConnector1">
                <a:avLst/>
              </a:prstGeom>
              <a:noFill/>
              <a:ln w="9525" cap="flat" cmpd="sng">
                <a:solidFill>
                  <a:schemeClr val="dk1"/>
                </a:solidFill>
                <a:prstDash val="solid"/>
                <a:round/>
                <a:headEnd type="none" w="med" len="med"/>
                <a:tailEnd type="none" w="med" len="med"/>
              </a:ln>
            </p:spPr>
          </p:cxnSp>
          <p:cxnSp>
            <p:nvCxnSpPr>
              <p:cNvPr id="168" name="Google Shape;168;p14"/>
              <p:cNvCxnSpPr/>
              <p:nvPr/>
            </p:nvCxnSpPr>
            <p:spPr>
              <a:xfrm rot="10800000">
                <a:off x="8805875" y="-39350"/>
                <a:ext cx="0" cy="4379100"/>
              </a:xfrm>
              <a:prstGeom prst="straightConnector1">
                <a:avLst/>
              </a:prstGeom>
              <a:noFill/>
              <a:ln w="9525" cap="flat" cmpd="sng">
                <a:solidFill>
                  <a:schemeClr val="dk1"/>
                </a:solidFill>
                <a:prstDash val="solid"/>
                <a:round/>
                <a:headEnd type="none" w="med" len="med"/>
                <a:tailEnd type="none" w="med" len="med"/>
              </a:ln>
            </p:spPr>
          </p:cxnSp>
        </p:grpSp>
        <p:grpSp>
          <p:nvGrpSpPr>
            <p:cNvPr id="169" name="Google Shape;169;p14"/>
            <p:cNvGrpSpPr/>
            <p:nvPr/>
          </p:nvGrpSpPr>
          <p:grpSpPr>
            <a:xfrm rot="10800000">
              <a:off x="-6310" y="-420350"/>
              <a:ext cx="1361898" cy="5566800"/>
              <a:chOff x="7798852" y="-50450"/>
              <a:chExt cx="1361898" cy="5566800"/>
            </a:xfrm>
          </p:grpSpPr>
          <p:sp>
            <p:nvSpPr>
              <p:cNvPr id="170" name="Google Shape;170;p14"/>
              <p:cNvSpPr/>
              <p:nvPr/>
            </p:nvSpPr>
            <p:spPr>
              <a:xfrm rot="5400000">
                <a:off x="8217575" y="478585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71" name="Google Shape;171;p14"/>
              <p:cNvSpPr/>
              <p:nvPr/>
            </p:nvSpPr>
            <p:spPr>
              <a:xfrm flipH="1">
                <a:off x="7911559" y="204768"/>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2" name="Google Shape;172;p14"/>
              <p:cNvSpPr/>
              <p:nvPr/>
            </p:nvSpPr>
            <p:spPr>
              <a:xfrm flipH="1">
                <a:off x="7882332" y="190767"/>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3" name="Google Shape;173;p14"/>
              <p:cNvSpPr/>
              <p:nvPr/>
            </p:nvSpPr>
            <p:spPr>
              <a:xfrm flipH="1">
                <a:off x="7798852" y="306274"/>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74" name="Google Shape;174;p14"/>
              <p:cNvSpPr/>
              <p:nvPr/>
            </p:nvSpPr>
            <p:spPr>
              <a:xfrm flipH="1">
                <a:off x="7798852" y="232420"/>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175" name="Google Shape;175;p14"/>
              <p:cNvCxnSpPr/>
              <p:nvPr/>
            </p:nvCxnSpPr>
            <p:spPr>
              <a:xfrm>
                <a:off x="8099950" y="278675"/>
                <a:ext cx="1060800" cy="0"/>
              </a:xfrm>
              <a:prstGeom prst="straightConnector1">
                <a:avLst/>
              </a:prstGeom>
              <a:noFill/>
              <a:ln w="9525" cap="flat" cmpd="sng">
                <a:solidFill>
                  <a:schemeClr val="dk1"/>
                </a:solidFill>
                <a:prstDash val="solid"/>
                <a:round/>
                <a:headEnd type="none" w="med" len="med"/>
                <a:tailEnd type="none" w="med" len="med"/>
              </a:ln>
            </p:spPr>
          </p:cxnSp>
          <p:cxnSp>
            <p:nvCxnSpPr>
              <p:cNvPr id="176" name="Google Shape;176;p14"/>
              <p:cNvCxnSpPr/>
              <p:nvPr/>
            </p:nvCxnSpPr>
            <p:spPr>
              <a:xfrm rot="10800000">
                <a:off x="8805875" y="-50450"/>
                <a:ext cx="0" cy="4390200"/>
              </a:xfrm>
              <a:prstGeom prst="straightConnector1">
                <a:avLst/>
              </a:prstGeom>
              <a:noFill/>
              <a:ln w="9525" cap="flat" cmpd="sng">
                <a:solidFill>
                  <a:schemeClr val="dk1"/>
                </a:solidFill>
                <a:prstDash val="solid"/>
                <a:round/>
                <a:headEnd type="none" w="med" len="med"/>
                <a:tailEnd type="none" w="med" len="med"/>
              </a:ln>
            </p:spPr>
          </p:cxnSp>
        </p:grpSp>
      </p:grpSp>
      <p:sp>
        <p:nvSpPr>
          <p:cNvPr id="177" name="Google Shape;177;p14"/>
          <p:cNvSpPr/>
          <p:nvPr/>
        </p:nvSpPr>
        <p:spPr>
          <a:xfrm>
            <a:off x="2789304" y="-1433106"/>
            <a:ext cx="1837834" cy="2033800"/>
          </a:xfrm>
          <a:prstGeom prst="ellipse">
            <a:avLst/>
          </a:prstGeom>
          <a:solidFill>
            <a:srgbClr val="A15315">
              <a:alpha val="16460"/>
            </a:srgb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78" name="Google Shape;178;p14"/>
          <p:cNvSpPr txBox="1">
            <a:spLocks noGrp="1"/>
          </p:cNvSpPr>
          <p:nvPr>
            <p:ph type="title"/>
          </p:nvPr>
        </p:nvSpPr>
        <p:spPr>
          <a:xfrm>
            <a:off x="595250" y="1121461"/>
            <a:ext cx="6369175" cy="1190474"/>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79" name="Google Shape;179;p14"/>
          <p:cNvSpPr txBox="1">
            <a:spLocks noGrp="1"/>
          </p:cNvSpPr>
          <p:nvPr>
            <p:ph type="subTitle" idx="1"/>
          </p:nvPr>
        </p:nvSpPr>
        <p:spPr>
          <a:xfrm>
            <a:off x="1318896" y="4846732"/>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0" name="Google Shape;180;p14"/>
          <p:cNvSpPr txBox="1">
            <a:spLocks noGrp="1"/>
          </p:cNvSpPr>
          <p:nvPr>
            <p:ph type="subTitle" idx="2"/>
          </p:nvPr>
        </p:nvSpPr>
        <p:spPr>
          <a:xfrm>
            <a:off x="1318896" y="8329470"/>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1" name="Google Shape;181;p14"/>
          <p:cNvSpPr txBox="1">
            <a:spLocks noGrp="1"/>
          </p:cNvSpPr>
          <p:nvPr>
            <p:ph type="subTitle" idx="3"/>
          </p:nvPr>
        </p:nvSpPr>
        <p:spPr>
          <a:xfrm>
            <a:off x="4546017" y="4846732"/>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2" name="Google Shape;182;p14"/>
          <p:cNvSpPr txBox="1">
            <a:spLocks noGrp="1"/>
          </p:cNvSpPr>
          <p:nvPr>
            <p:ph type="subTitle" idx="4"/>
          </p:nvPr>
        </p:nvSpPr>
        <p:spPr>
          <a:xfrm>
            <a:off x="4546037" y="8329470"/>
            <a:ext cx="2423908" cy="975825"/>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183" name="Google Shape;183;p14"/>
          <p:cNvSpPr txBox="1">
            <a:spLocks noGrp="1"/>
          </p:cNvSpPr>
          <p:nvPr>
            <p:ph type="title" idx="5" hasCustomPrompt="1"/>
          </p:nvPr>
        </p:nvSpPr>
        <p:spPr>
          <a:xfrm>
            <a:off x="596407" y="3051117"/>
            <a:ext cx="543166" cy="1803483"/>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lt1"/>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4" name="Google Shape;184;p14"/>
          <p:cNvSpPr txBox="1">
            <a:spLocks noGrp="1"/>
          </p:cNvSpPr>
          <p:nvPr>
            <p:ph type="title" idx="6" hasCustomPrompt="1"/>
          </p:nvPr>
        </p:nvSpPr>
        <p:spPr>
          <a:xfrm>
            <a:off x="3823592" y="3051117"/>
            <a:ext cx="543166" cy="1803483"/>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lt1"/>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5" name="Google Shape;185;p14"/>
          <p:cNvSpPr txBox="1">
            <a:spLocks noGrp="1"/>
          </p:cNvSpPr>
          <p:nvPr>
            <p:ph type="title" idx="7" hasCustomPrompt="1"/>
          </p:nvPr>
        </p:nvSpPr>
        <p:spPr>
          <a:xfrm>
            <a:off x="596407" y="6525987"/>
            <a:ext cx="543166" cy="1803483"/>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lt1"/>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6" name="Google Shape;186;p14"/>
          <p:cNvSpPr txBox="1">
            <a:spLocks noGrp="1"/>
          </p:cNvSpPr>
          <p:nvPr>
            <p:ph type="title" idx="8" hasCustomPrompt="1"/>
          </p:nvPr>
        </p:nvSpPr>
        <p:spPr>
          <a:xfrm>
            <a:off x="3823592" y="6525987"/>
            <a:ext cx="543166" cy="1803483"/>
          </a:xfrm>
          <a:prstGeom prst="rect">
            <a:avLst/>
          </a:prstGeom>
          <a:solidFill>
            <a:schemeClr val="dk2"/>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2500"/>
              <a:buNone/>
              <a:defRPr sz="2067" b="0">
                <a:solidFill>
                  <a:schemeClr val="lt1"/>
                </a:solidFill>
              </a:defRPr>
            </a:lvl1pPr>
            <a:lvl2pPr lvl="1" rtl="0">
              <a:spcBef>
                <a:spcPts val="0"/>
              </a:spcBef>
              <a:spcAft>
                <a:spcPts val="0"/>
              </a:spcAft>
              <a:buSzPts val="2500"/>
              <a:buNone/>
              <a:defRPr sz="2067"/>
            </a:lvl2pPr>
            <a:lvl3pPr lvl="2" rtl="0">
              <a:spcBef>
                <a:spcPts val="0"/>
              </a:spcBef>
              <a:spcAft>
                <a:spcPts val="0"/>
              </a:spcAft>
              <a:buSzPts val="2500"/>
              <a:buNone/>
              <a:defRPr sz="2067"/>
            </a:lvl3pPr>
            <a:lvl4pPr lvl="3" rtl="0">
              <a:spcBef>
                <a:spcPts val="0"/>
              </a:spcBef>
              <a:spcAft>
                <a:spcPts val="0"/>
              </a:spcAft>
              <a:buSzPts val="2500"/>
              <a:buNone/>
              <a:defRPr sz="2067"/>
            </a:lvl4pPr>
            <a:lvl5pPr lvl="4" rtl="0">
              <a:spcBef>
                <a:spcPts val="0"/>
              </a:spcBef>
              <a:spcAft>
                <a:spcPts val="0"/>
              </a:spcAft>
              <a:buSzPts val="2500"/>
              <a:buNone/>
              <a:defRPr sz="2067"/>
            </a:lvl5pPr>
            <a:lvl6pPr lvl="5" rtl="0">
              <a:spcBef>
                <a:spcPts val="0"/>
              </a:spcBef>
              <a:spcAft>
                <a:spcPts val="0"/>
              </a:spcAft>
              <a:buSzPts val="2500"/>
              <a:buNone/>
              <a:defRPr sz="2067"/>
            </a:lvl6pPr>
            <a:lvl7pPr lvl="6" rtl="0">
              <a:spcBef>
                <a:spcPts val="0"/>
              </a:spcBef>
              <a:spcAft>
                <a:spcPts val="0"/>
              </a:spcAft>
              <a:buSzPts val="2500"/>
              <a:buNone/>
              <a:defRPr sz="2067"/>
            </a:lvl7pPr>
            <a:lvl8pPr lvl="7" rtl="0">
              <a:spcBef>
                <a:spcPts val="0"/>
              </a:spcBef>
              <a:spcAft>
                <a:spcPts val="0"/>
              </a:spcAft>
              <a:buSzPts val="2500"/>
              <a:buNone/>
              <a:defRPr sz="2067"/>
            </a:lvl8pPr>
            <a:lvl9pPr lvl="8" rtl="0">
              <a:spcBef>
                <a:spcPts val="0"/>
              </a:spcBef>
              <a:spcAft>
                <a:spcPts val="0"/>
              </a:spcAft>
              <a:buSzPts val="2500"/>
              <a:buNone/>
              <a:defRPr sz="2067"/>
            </a:lvl9pPr>
          </a:lstStyle>
          <a:p>
            <a:r>
              <a:t>xx%</a:t>
            </a:r>
          </a:p>
        </p:txBody>
      </p:sp>
      <p:sp>
        <p:nvSpPr>
          <p:cNvPr id="187" name="Google Shape;187;p14"/>
          <p:cNvSpPr txBox="1">
            <a:spLocks noGrp="1"/>
          </p:cNvSpPr>
          <p:nvPr>
            <p:ph type="subTitle" idx="9"/>
          </p:nvPr>
        </p:nvSpPr>
        <p:spPr>
          <a:xfrm>
            <a:off x="1318896" y="3051117"/>
            <a:ext cx="2423908" cy="1814085"/>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188" name="Google Shape;188;p14"/>
          <p:cNvSpPr txBox="1">
            <a:spLocks noGrp="1"/>
          </p:cNvSpPr>
          <p:nvPr>
            <p:ph type="subTitle" idx="13"/>
          </p:nvPr>
        </p:nvSpPr>
        <p:spPr>
          <a:xfrm>
            <a:off x="1318851" y="6525987"/>
            <a:ext cx="2423908" cy="1803483"/>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189" name="Google Shape;189;p14"/>
          <p:cNvSpPr txBox="1">
            <a:spLocks noGrp="1"/>
          </p:cNvSpPr>
          <p:nvPr>
            <p:ph type="subTitle" idx="14"/>
          </p:nvPr>
        </p:nvSpPr>
        <p:spPr>
          <a:xfrm>
            <a:off x="4546015" y="3051117"/>
            <a:ext cx="2423908" cy="1803483"/>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190" name="Google Shape;190;p14"/>
          <p:cNvSpPr txBox="1">
            <a:spLocks noGrp="1"/>
          </p:cNvSpPr>
          <p:nvPr>
            <p:ph type="subTitle" idx="15"/>
          </p:nvPr>
        </p:nvSpPr>
        <p:spPr>
          <a:xfrm>
            <a:off x="4546037" y="6525987"/>
            <a:ext cx="2423908" cy="1803483"/>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 name="Foliennummernplatzhalter 1">
            <a:extLst>
              <a:ext uri="{FF2B5EF4-FFF2-40B4-BE49-F238E27FC236}">
                <a16:creationId xmlns:a16="http://schemas.microsoft.com/office/drawing/2014/main" id="{05F9729A-C430-9D6B-A555-EFC7E6860562}"/>
              </a:ext>
            </a:extLst>
          </p:cNvPr>
          <p:cNvSpPr>
            <a:spLocks noGrp="1"/>
          </p:cNvSpPr>
          <p:nvPr>
            <p:ph type="sldNum" sz="quarter" idx="16"/>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six columns">
  <p:cSld name="CUSTOM_7">
    <p:spTree>
      <p:nvGrpSpPr>
        <p:cNvPr id="1" name="Shape 191"/>
        <p:cNvGrpSpPr/>
        <p:nvPr/>
      </p:nvGrpSpPr>
      <p:grpSpPr>
        <a:xfrm>
          <a:off x="0" y="0"/>
          <a:ext cx="0" cy="0"/>
          <a:chOff x="0" y="0"/>
          <a:chExt cx="0" cy="0"/>
        </a:xfrm>
      </p:grpSpPr>
      <p:grpSp>
        <p:nvGrpSpPr>
          <p:cNvPr id="192" name="Google Shape;192;p15"/>
          <p:cNvGrpSpPr/>
          <p:nvPr/>
        </p:nvGrpSpPr>
        <p:grpSpPr>
          <a:xfrm>
            <a:off x="4999097" y="-328556"/>
            <a:ext cx="2768924" cy="10340720"/>
            <a:chOff x="6046787" y="-152"/>
            <a:chExt cx="3349223" cy="4974600"/>
          </a:xfrm>
        </p:grpSpPr>
        <p:sp>
          <p:nvSpPr>
            <p:cNvPr id="193" name="Google Shape;193;p15"/>
            <p:cNvSpPr/>
            <p:nvPr/>
          </p:nvSpPr>
          <p:spPr>
            <a:xfrm flipH="1">
              <a:off x="8219410" y="4690048"/>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194" name="Google Shape;194;p15"/>
            <p:cNvSpPr/>
            <p:nvPr/>
          </p:nvSpPr>
          <p:spPr>
            <a:xfrm rot="10800000">
              <a:off x="6159494" y="4752183"/>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95" name="Google Shape;195;p15"/>
            <p:cNvSpPr/>
            <p:nvPr/>
          </p:nvSpPr>
          <p:spPr>
            <a:xfrm rot="10800000">
              <a:off x="6130267" y="4741158"/>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96" name="Google Shape;196;p15"/>
            <p:cNvSpPr/>
            <p:nvPr/>
          </p:nvSpPr>
          <p:spPr>
            <a:xfrm rot="10800000">
              <a:off x="6046787" y="4782810"/>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197" name="Google Shape;197;p15"/>
            <p:cNvSpPr/>
            <p:nvPr/>
          </p:nvSpPr>
          <p:spPr>
            <a:xfrm rot="10800000">
              <a:off x="6046787" y="4856489"/>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198" name="Google Shape;198;p15"/>
            <p:cNvCxnSpPr>
              <a:endCxn id="193" idx="3"/>
            </p:cNvCxnSpPr>
            <p:nvPr/>
          </p:nvCxnSpPr>
          <p:spPr>
            <a:xfrm>
              <a:off x="6350110" y="4832248"/>
              <a:ext cx="1869300" cy="0"/>
            </a:xfrm>
            <a:prstGeom prst="straightConnector1">
              <a:avLst/>
            </a:prstGeom>
            <a:noFill/>
            <a:ln w="9525" cap="flat" cmpd="sng">
              <a:solidFill>
                <a:schemeClr val="dk1"/>
              </a:solidFill>
              <a:prstDash val="solid"/>
              <a:round/>
              <a:headEnd type="none" w="med" len="med"/>
              <a:tailEnd type="none" w="med" len="med"/>
            </a:ln>
          </p:spPr>
        </p:cxnSp>
        <p:cxnSp>
          <p:nvCxnSpPr>
            <p:cNvPr id="199" name="Google Shape;199;p15"/>
            <p:cNvCxnSpPr>
              <a:endCxn id="193" idx="0"/>
            </p:cNvCxnSpPr>
            <p:nvPr/>
          </p:nvCxnSpPr>
          <p:spPr>
            <a:xfrm>
              <a:off x="8807710" y="-152"/>
              <a:ext cx="0" cy="4690200"/>
            </a:xfrm>
            <a:prstGeom prst="straightConnector1">
              <a:avLst/>
            </a:prstGeom>
            <a:noFill/>
            <a:ln w="9525" cap="flat" cmpd="sng">
              <a:solidFill>
                <a:schemeClr val="dk1"/>
              </a:solidFill>
              <a:prstDash val="solid"/>
              <a:round/>
              <a:headEnd type="none" w="med" len="med"/>
              <a:tailEnd type="none" w="med" len="med"/>
            </a:ln>
          </p:spPr>
        </p:cxnSp>
      </p:grpSp>
      <p:sp>
        <p:nvSpPr>
          <p:cNvPr id="201" name="Google Shape;201;p15"/>
          <p:cNvSpPr/>
          <p:nvPr/>
        </p:nvSpPr>
        <p:spPr>
          <a:xfrm>
            <a:off x="-1394082" y="-1738089"/>
            <a:ext cx="2522453" cy="2645886"/>
          </a:xfrm>
          <a:prstGeom prst="ellipse">
            <a:avLst/>
          </a:prstGeom>
          <a:solidFill>
            <a:srgbClr val="A15315">
              <a:alpha val="1646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02" name="Google Shape;202;p15"/>
          <p:cNvSpPr/>
          <p:nvPr/>
        </p:nvSpPr>
        <p:spPr>
          <a:xfrm>
            <a:off x="1613121" y="9958759"/>
            <a:ext cx="2792866" cy="2535624"/>
          </a:xfrm>
          <a:prstGeom prst="ellipse">
            <a:avLst/>
          </a:prstGeom>
          <a:solidFill>
            <a:srgbClr val="A15315">
              <a:alpha val="16460"/>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03" name="Google Shape;203;p15"/>
          <p:cNvSpPr txBox="1">
            <a:spLocks noGrp="1"/>
          </p:cNvSpPr>
          <p:nvPr>
            <p:ph type="title"/>
          </p:nvPr>
        </p:nvSpPr>
        <p:spPr>
          <a:xfrm>
            <a:off x="595250" y="1121461"/>
            <a:ext cx="6369175" cy="1190474"/>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04" name="Google Shape;204;p15"/>
          <p:cNvSpPr txBox="1">
            <a:spLocks noGrp="1"/>
          </p:cNvSpPr>
          <p:nvPr>
            <p:ph type="subTitle" idx="1"/>
          </p:nvPr>
        </p:nvSpPr>
        <p:spPr>
          <a:xfrm>
            <a:off x="595250" y="4423219"/>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05" name="Google Shape;205;p15"/>
          <p:cNvSpPr txBox="1">
            <a:spLocks noGrp="1"/>
          </p:cNvSpPr>
          <p:nvPr>
            <p:ph type="subTitle" idx="2"/>
          </p:nvPr>
        </p:nvSpPr>
        <p:spPr>
          <a:xfrm>
            <a:off x="2792901" y="4423219"/>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06" name="Google Shape;206;p15"/>
          <p:cNvSpPr txBox="1">
            <a:spLocks noGrp="1"/>
          </p:cNvSpPr>
          <p:nvPr>
            <p:ph type="subTitle" idx="3"/>
          </p:nvPr>
        </p:nvSpPr>
        <p:spPr>
          <a:xfrm>
            <a:off x="595250" y="8126744"/>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07" name="Google Shape;207;p15"/>
          <p:cNvSpPr txBox="1">
            <a:spLocks noGrp="1"/>
          </p:cNvSpPr>
          <p:nvPr>
            <p:ph type="subTitle" idx="4"/>
          </p:nvPr>
        </p:nvSpPr>
        <p:spPr>
          <a:xfrm>
            <a:off x="2792901" y="8126744"/>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08" name="Google Shape;208;p15"/>
          <p:cNvSpPr txBox="1">
            <a:spLocks noGrp="1"/>
          </p:cNvSpPr>
          <p:nvPr>
            <p:ph type="subTitle" idx="5"/>
          </p:nvPr>
        </p:nvSpPr>
        <p:spPr>
          <a:xfrm>
            <a:off x="4990551" y="4423219"/>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09" name="Google Shape;209;p15"/>
          <p:cNvSpPr txBox="1">
            <a:spLocks noGrp="1"/>
          </p:cNvSpPr>
          <p:nvPr>
            <p:ph type="subTitle" idx="6"/>
          </p:nvPr>
        </p:nvSpPr>
        <p:spPr>
          <a:xfrm>
            <a:off x="4990551" y="8126744"/>
            <a:ext cx="1973998" cy="1443602"/>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1400"/>
              <a:buNone/>
              <a:defRPr sz="1157"/>
            </a:lvl1pPr>
            <a:lvl2pPr lvl="1" algn="ctr" rtl="0">
              <a:lnSpc>
                <a:spcPct val="115000"/>
              </a:lnSpc>
              <a:spcBef>
                <a:spcPts val="0"/>
              </a:spcBef>
              <a:spcAft>
                <a:spcPts val="0"/>
              </a:spcAft>
              <a:buSzPts val="1400"/>
              <a:buNone/>
              <a:defRPr/>
            </a:lvl2pPr>
            <a:lvl3pPr lvl="2" algn="ctr" rtl="0">
              <a:lnSpc>
                <a:spcPct val="115000"/>
              </a:lnSpc>
              <a:spcBef>
                <a:spcPts val="0"/>
              </a:spcBef>
              <a:spcAft>
                <a:spcPts val="0"/>
              </a:spcAft>
              <a:buSzPts val="1400"/>
              <a:buNone/>
              <a:defRPr/>
            </a:lvl3pPr>
            <a:lvl4pPr lvl="3" algn="ctr" rtl="0">
              <a:lnSpc>
                <a:spcPct val="115000"/>
              </a:lnSpc>
              <a:spcBef>
                <a:spcPts val="0"/>
              </a:spcBef>
              <a:spcAft>
                <a:spcPts val="0"/>
              </a:spcAft>
              <a:buSzPts val="1400"/>
              <a:buNone/>
              <a:defRPr/>
            </a:lvl4pPr>
            <a:lvl5pPr lvl="4" algn="ctr" rtl="0">
              <a:lnSpc>
                <a:spcPct val="115000"/>
              </a:lnSpc>
              <a:spcBef>
                <a:spcPts val="0"/>
              </a:spcBef>
              <a:spcAft>
                <a:spcPts val="0"/>
              </a:spcAft>
              <a:buSzPts val="1400"/>
              <a:buNone/>
              <a:defRPr/>
            </a:lvl5pPr>
            <a:lvl6pPr lvl="5" algn="ctr" rtl="0">
              <a:lnSpc>
                <a:spcPct val="115000"/>
              </a:lnSpc>
              <a:spcBef>
                <a:spcPts val="0"/>
              </a:spcBef>
              <a:spcAft>
                <a:spcPts val="0"/>
              </a:spcAft>
              <a:buSzPts val="1400"/>
              <a:buNone/>
              <a:defRPr/>
            </a:lvl6pPr>
            <a:lvl7pPr lvl="6" algn="ctr" rtl="0">
              <a:lnSpc>
                <a:spcPct val="115000"/>
              </a:lnSpc>
              <a:spcBef>
                <a:spcPts val="0"/>
              </a:spcBef>
              <a:spcAft>
                <a:spcPts val="0"/>
              </a:spcAft>
              <a:buSzPts val="1400"/>
              <a:buNone/>
              <a:defRPr/>
            </a:lvl7pPr>
            <a:lvl8pPr lvl="7" algn="ctr" rtl="0">
              <a:lnSpc>
                <a:spcPct val="115000"/>
              </a:lnSpc>
              <a:spcBef>
                <a:spcPts val="0"/>
              </a:spcBef>
              <a:spcAft>
                <a:spcPts val="0"/>
              </a:spcAft>
              <a:buSzPts val="1400"/>
              <a:buNone/>
              <a:defRPr/>
            </a:lvl8pPr>
            <a:lvl9pPr lvl="8" algn="ctr" rtl="0">
              <a:lnSpc>
                <a:spcPct val="115000"/>
              </a:lnSpc>
              <a:spcBef>
                <a:spcPts val="0"/>
              </a:spcBef>
              <a:spcAft>
                <a:spcPts val="0"/>
              </a:spcAft>
              <a:buSzPts val="1400"/>
              <a:buNone/>
              <a:defRPr/>
            </a:lvl9pPr>
          </a:lstStyle>
          <a:p>
            <a:endParaRPr/>
          </a:p>
        </p:txBody>
      </p:sp>
      <p:sp>
        <p:nvSpPr>
          <p:cNvPr id="210" name="Google Shape;210;p15"/>
          <p:cNvSpPr txBox="1">
            <a:spLocks noGrp="1"/>
          </p:cNvSpPr>
          <p:nvPr>
            <p:ph type="subTitle" idx="7"/>
          </p:nvPr>
        </p:nvSpPr>
        <p:spPr>
          <a:xfrm>
            <a:off x="596139" y="2739264"/>
            <a:ext cx="1972014"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11" name="Google Shape;211;p15"/>
          <p:cNvSpPr txBox="1">
            <a:spLocks noGrp="1"/>
          </p:cNvSpPr>
          <p:nvPr>
            <p:ph type="subTitle" idx="8"/>
          </p:nvPr>
        </p:nvSpPr>
        <p:spPr>
          <a:xfrm>
            <a:off x="2793789" y="2739264"/>
            <a:ext cx="1972014"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12" name="Google Shape;212;p15"/>
          <p:cNvSpPr txBox="1">
            <a:spLocks noGrp="1"/>
          </p:cNvSpPr>
          <p:nvPr>
            <p:ph type="subTitle" idx="9"/>
          </p:nvPr>
        </p:nvSpPr>
        <p:spPr>
          <a:xfrm>
            <a:off x="4991440" y="2739264"/>
            <a:ext cx="1972014"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13" name="Google Shape;213;p15"/>
          <p:cNvSpPr txBox="1">
            <a:spLocks noGrp="1"/>
          </p:cNvSpPr>
          <p:nvPr>
            <p:ph type="subTitle" idx="13"/>
          </p:nvPr>
        </p:nvSpPr>
        <p:spPr>
          <a:xfrm>
            <a:off x="596139" y="6442994"/>
            <a:ext cx="1973998"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14" name="Google Shape;214;p15"/>
          <p:cNvSpPr txBox="1">
            <a:spLocks noGrp="1"/>
          </p:cNvSpPr>
          <p:nvPr>
            <p:ph type="subTitle" idx="14"/>
          </p:nvPr>
        </p:nvSpPr>
        <p:spPr>
          <a:xfrm>
            <a:off x="2793789" y="6442999"/>
            <a:ext cx="1972014"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15" name="Google Shape;215;p15"/>
          <p:cNvSpPr txBox="1">
            <a:spLocks noGrp="1"/>
          </p:cNvSpPr>
          <p:nvPr>
            <p:ph type="subTitle" idx="15"/>
          </p:nvPr>
        </p:nvSpPr>
        <p:spPr>
          <a:xfrm>
            <a:off x="4991440" y="6442999"/>
            <a:ext cx="1972014" cy="1683750"/>
          </a:xfrm>
          <a:prstGeom prst="rect">
            <a:avLst/>
          </a:prstGeom>
        </p:spPr>
        <p:txBody>
          <a:bodyPr spcFirstLastPara="1" wrap="square" lIns="91425" tIns="91425" rIns="91425" bIns="91425" anchor="b" anchorCtr="0">
            <a:noAutofit/>
          </a:bodyPr>
          <a:lstStyle>
            <a:lvl1pPr lvl="0" rtl="0">
              <a:lnSpc>
                <a:spcPct val="115000"/>
              </a:lnSpc>
              <a:spcBef>
                <a:spcPts val="0"/>
              </a:spcBef>
              <a:spcAft>
                <a:spcPts val="0"/>
              </a:spcAft>
              <a:buSzPts val="1800"/>
              <a:buFont typeface="Epilogue"/>
              <a:buNone/>
              <a:defRPr sz="1488" b="1">
                <a:solidFill>
                  <a:schemeClr val="dk1"/>
                </a:solidFill>
                <a:latin typeface="Epilogue"/>
                <a:ea typeface="Epilogue"/>
                <a:cs typeface="Epilogue"/>
                <a:sym typeface="Epilogue"/>
              </a:defRPr>
            </a:lvl1pPr>
            <a:lvl2pPr lvl="1" algn="ctr" rtl="0">
              <a:lnSpc>
                <a:spcPct val="115000"/>
              </a:lnSpc>
              <a:spcBef>
                <a:spcPts val="0"/>
              </a:spcBef>
              <a:spcAft>
                <a:spcPts val="0"/>
              </a:spcAft>
              <a:buSzPts val="1800"/>
              <a:buFont typeface="Epilogue"/>
              <a:buNone/>
              <a:defRPr sz="1488" b="1">
                <a:latin typeface="Epilogue"/>
                <a:ea typeface="Epilogue"/>
                <a:cs typeface="Epilogue"/>
                <a:sym typeface="Epilogue"/>
              </a:defRPr>
            </a:lvl2pPr>
            <a:lvl3pPr lvl="2" algn="ctr" rtl="0">
              <a:lnSpc>
                <a:spcPct val="115000"/>
              </a:lnSpc>
              <a:spcBef>
                <a:spcPts val="0"/>
              </a:spcBef>
              <a:spcAft>
                <a:spcPts val="0"/>
              </a:spcAft>
              <a:buSzPts val="1800"/>
              <a:buFont typeface="Epilogue"/>
              <a:buNone/>
              <a:defRPr sz="1488" b="1">
                <a:latin typeface="Epilogue"/>
                <a:ea typeface="Epilogue"/>
                <a:cs typeface="Epilogue"/>
                <a:sym typeface="Epilogue"/>
              </a:defRPr>
            </a:lvl3pPr>
            <a:lvl4pPr lvl="3" algn="ctr" rtl="0">
              <a:lnSpc>
                <a:spcPct val="115000"/>
              </a:lnSpc>
              <a:spcBef>
                <a:spcPts val="0"/>
              </a:spcBef>
              <a:spcAft>
                <a:spcPts val="0"/>
              </a:spcAft>
              <a:buSzPts val="1800"/>
              <a:buFont typeface="Epilogue"/>
              <a:buNone/>
              <a:defRPr sz="1488" b="1">
                <a:latin typeface="Epilogue"/>
                <a:ea typeface="Epilogue"/>
                <a:cs typeface="Epilogue"/>
                <a:sym typeface="Epilogue"/>
              </a:defRPr>
            </a:lvl4pPr>
            <a:lvl5pPr lvl="4" algn="ctr" rtl="0">
              <a:lnSpc>
                <a:spcPct val="115000"/>
              </a:lnSpc>
              <a:spcBef>
                <a:spcPts val="0"/>
              </a:spcBef>
              <a:spcAft>
                <a:spcPts val="0"/>
              </a:spcAft>
              <a:buSzPts val="1800"/>
              <a:buFont typeface="Epilogue"/>
              <a:buNone/>
              <a:defRPr sz="1488" b="1">
                <a:latin typeface="Epilogue"/>
                <a:ea typeface="Epilogue"/>
                <a:cs typeface="Epilogue"/>
                <a:sym typeface="Epilogue"/>
              </a:defRPr>
            </a:lvl5pPr>
            <a:lvl6pPr lvl="5" algn="ctr" rtl="0">
              <a:lnSpc>
                <a:spcPct val="115000"/>
              </a:lnSpc>
              <a:spcBef>
                <a:spcPts val="0"/>
              </a:spcBef>
              <a:spcAft>
                <a:spcPts val="0"/>
              </a:spcAft>
              <a:buSzPts val="1800"/>
              <a:buFont typeface="Epilogue"/>
              <a:buNone/>
              <a:defRPr sz="1488" b="1">
                <a:latin typeface="Epilogue"/>
                <a:ea typeface="Epilogue"/>
                <a:cs typeface="Epilogue"/>
                <a:sym typeface="Epilogue"/>
              </a:defRPr>
            </a:lvl6pPr>
            <a:lvl7pPr lvl="6" algn="ctr" rtl="0">
              <a:lnSpc>
                <a:spcPct val="115000"/>
              </a:lnSpc>
              <a:spcBef>
                <a:spcPts val="0"/>
              </a:spcBef>
              <a:spcAft>
                <a:spcPts val="0"/>
              </a:spcAft>
              <a:buSzPts val="1800"/>
              <a:buFont typeface="Epilogue"/>
              <a:buNone/>
              <a:defRPr sz="1488" b="1">
                <a:latin typeface="Epilogue"/>
                <a:ea typeface="Epilogue"/>
                <a:cs typeface="Epilogue"/>
                <a:sym typeface="Epilogue"/>
              </a:defRPr>
            </a:lvl7pPr>
            <a:lvl8pPr lvl="7" algn="ctr" rtl="0">
              <a:lnSpc>
                <a:spcPct val="115000"/>
              </a:lnSpc>
              <a:spcBef>
                <a:spcPts val="0"/>
              </a:spcBef>
              <a:spcAft>
                <a:spcPts val="0"/>
              </a:spcAft>
              <a:buSzPts val="1800"/>
              <a:buFont typeface="Epilogue"/>
              <a:buNone/>
              <a:defRPr sz="1488" b="1">
                <a:latin typeface="Epilogue"/>
                <a:ea typeface="Epilogue"/>
                <a:cs typeface="Epilogue"/>
                <a:sym typeface="Epilogue"/>
              </a:defRPr>
            </a:lvl8pPr>
            <a:lvl9pPr lvl="8" algn="ctr" rtl="0">
              <a:lnSpc>
                <a:spcPct val="115000"/>
              </a:lnSpc>
              <a:spcBef>
                <a:spcPts val="0"/>
              </a:spcBef>
              <a:spcAft>
                <a:spcPts val="0"/>
              </a:spcAft>
              <a:buSzPts val="1800"/>
              <a:buFont typeface="Epilogue"/>
              <a:buNone/>
              <a:defRPr sz="1488" b="1">
                <a:latin typeface="Epilogue"/>
                <a:ea typeface="Epilogue"/>
                <a:cs typeface="Epilogue"/>
                <a:sym typeface="Epilogue"/>
              </a:defRPr>
            </a:lvl9pPr>
          </a:lstStyle>
          <a:p>
            <a:endParaRPr/>
          </a:p>
        </p:txBody>
      </p:sp>
      <p:sp>
        <p:nvSpPr>
          <p:cNvPr id="2" name="Foliennummernplatzhalter 1">
            <a:extLst>
              <a:ext uri="{FF2B5EF4-FFF2-40B4-BE49-F238E27FC236}">
                <a16:creationId xmlns:a16="http://schemas.microsoft.com/office/drawing/2014/main" id="{F328E790-C615-5104-B140-821235766C5B}"/>
              </a:ext>
            </a:extLst>
          </p:cNvPr>
          <p:cNvSpPr>
            <a:spLocks noGrp="1"/>
          </p:cNvSpPr>
          <p:nvPr>
            <p:ph type="sldNum" sz="quarter" idx="16"/>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only 1">
  <p:cSld name="CUSTOM_10">
    <p:spTree>
      <p:nvGrpSpPr>
        <p:cNvPr id="1" name="Shape 216"/>
        <p:cNvGrpSpPr/>
        <p:nvPr/>
      </p:nvGrpSpPr>
      <p:grpSpPr>
        <a:xfrm>
          <a:off x="0" y="0"/>
          <a:ext cx="0" cy="0"/>
          <a:chOff x="0" y="0"/>
          <a:chExt cx="0" cy="0"/>
        </a:xfrm>
      </p:grpSpPr>
      <p:sp>
        <p:nvSpPr>
          <p:cNvPr id="217" name="Google Shape;217;p16"/>
          <p:cNvSpPr/>
          <p:nvPr/>
        </p:nvSpPr>
        <p:spPr>
          <a:xfrm>
            <a:off x="2947148" y="9910698"/>
            <a:ext cx="4203159" cy="3811246"/>
          </a:xfrm>
          <a:prstGeom prst="ellipse">
            <a:avLst/>
          </a:prstGeom>
          <a:solidFill>
            <a:srgbClr val="A15315">
              <a:alpha val="16460"/>
            </a:srgbClr>
          </a:solidFill>
          <a:ln>
            <a:noFill/>
          </a:ln>
        </p:spPr>
        <p:txBody>
          <a:bodyPr spcFirstLastPara="1" wrap="square" lIns="75584" tIns="75584" rIns="75584" bIns="75584"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grpSp>
        <p:nvGrpSpPr>
          <p:cNvPr id="218" name="Google Shape;218;p16"/>
          <p:cNvGrpSpPr/>
          <p:nvPr/>
        </p:nvGrpSpPr>
        <p:grpSpPr>
          <a:xfrm>
            <a:off x="-188710" y="307461"/>
            <a:ext cx="5595514" cy="10412435"/>
            <a:chOff x="-123013" y="147910"/>
            <a:chExt cx="6768198" cy="5009100"/>
          </a:xfrm>
        </p:grpSpPr>
        <p:sp>
          <p:nvSpPr>
            <p:cNvPr id="219" name="Google Shape;219;p16"/>
            <p:cNvSpPr/>
            <p:nvPr/>
          </p:nvSpPr>
          <p:spPr>
            <a:xfrm rot="10800000" flipH="1">
              <a:off x="-123013" y="147910"/>
              <a:ext cx="1176600" cy="284400"/>
            </a:xfrm>
            <a:prstGeom prst="roundRect">
              <a:avLst>
                <a:gd name="adj" fmla="val 50000"/>
              </a:avLst>
            </a:pr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157">
                <a:latin typeface="Sofia Sans"/>
                <a:ea typeface="Sofia Sans"/>
                <a:cs typeface="Sofia Sans"/>
                <a:sym typeface="Sofia Sans"/>
              </a:endParaRPr>
            </a:p>
          </p:txBody>
        </p:sp>
        <p:sp>
          <p:nvSpPr>
            <p:cNvPr id="220" name="Google Shape;220;p16"/>
            <p:cNvSpPr/>
            <p:nvPr/>
          </p:nvSpPr>
          <p:spPr>
            <a:xfrm>
              <a:off x="6342067" y="213016"/>
              <a:ext cx="190411" cy="157159"/>
            </a:xfrm>
            <a:custGeom>
              <a:avLst/>
              <a:gdLst/>
              <a:ahLst/>
              <a:cxnLst/>
              <a:rect l="l" t="t" r="r" b="b"/>
              <a:pathLst>
                <a:path w="1088" h="898" extrusionOk="0">
                  <a:moveTo>
                    <a:pt x="325" y="898"/>
                  </a:moveTo>
                  <a:lnTo>
                    <a:pt x="325" y="898"/>
                  </a:lnTo>
                  <a:cubicBezTo>
                    <a:pt x="1088" y="898"/>
                    <a:pt x="1088" y="898"/>
                    <a:pt x="1088" y="898"/>
                  </a:cubicBezTo>
                  <a:cubicBezTo>
                    <a:pt x="1088" y="0"/>
                    <a:pt x="1088" y="0"/>
                    <a:pt x="1088" y="0"/>
                  </a:cubicBezTo>
                  <a:cubicBezTo>
                    <a:pt x="325" y="0"/>
                    <a:pt x="325" y="0"/>
                    <a:pt x="325" y="0"/>
                  </a:cubicBezTo>
                  <a:cubicBezTo>
                    <a:pt x="143" y="0"/>
                    <a:pt x="0" y="143"/>
                    <a:pt x="0" y="325"/>
                  </a:cubicBezTo>
                  <a:cubicBezTo>
                    <a:pt x="0" y="572"/>
                    <a:pt x="0" y="572"/>
                    <a:pt x="0" y="572"/>
                  </a:cubicBezTo>
                  <a:cubicBezTo>
                    <a:pt x="0" y="755"/>
                    <a:pt x="143" y="898"/>
                    <a:pt x="325" y="898"/>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21" name="Google Shape;221;p16"/>
            <p:cNvSpPr/>
            <p:nvPr/>
          </p:nvSpPr>
          <p:spPr>
            <a:xfrm>
              <a:off x="6532479" y="199015"/>
              <a:ext cx="29227" cy="182185"/>
            </a:xfrm>
            <a:custGeom>
              <a:avLst/>
              <a:gdLst/>
              <a:ahLst/>
              <a:cxnLst/>
              <a:rect l="l" t="t" r="r" b="b"/>
              <a:pathLst>
                <a:path w="167" h="1041" extrusionOk="0">
                  <a:moveTo>
                    <a:pt x="80" y="1041"/>
                  </a:moveTo>
                  <a:lnTo>
                    <a:pt x="80" y="1041"/>
                  </a:lnTo>
                  <a:lnTo>
                    <a:pt x="80" y="1041"/>
                  </a:lnTo>
                  <a:cubicBezTo>
                    <a:pt x="40" y="1041"/>
                    <a:pt x="0" y="1001"/>
                    <a:pt x="0" y="954"/>
                  </a:cubicBezTo>
                  <a:cubicBezTo>
                    <a:pt x="0" y="87"/>
                    <a:pt x="0" y="87"/>
                    <a:pt x="0" y="87"/>
                  </a:cubicBezTo>
                  <a:cubicBezTo>
                    <a:pt x="0" y="40"/>
                    <a:pt x="40" y="0"/>
                    <a:pt x="80" y="0"/>
                  </a:cubicBezTo>
                  <a:lnTo>
                    <a:pt x="80" y="0"/>
                  </a:lnTo>
                  <a:cubicBezTo>
                    <a:pt x="127" y="0"/>
                    <a:pt x="167" y="40"/>
                    <a:pt x="167" y="87"/>
                  </a:cubicBezTo>
                  <a:cubicBezTo>
                    <a:pt x="167" y="954"/>
                    <a:pt x="167" y="954"/>
                    <a:pt x="167" y="954"/>
                  </a:cubicBezTo>
                  <a:cubicBezTo>
                    <a:pt x="167" y="1001"/>
                    <a:pt x="127" y="1041"/>
                    <a:pt x="80" y="1041"/>
                  </a:cubicBezTo>
                  <a:close/>
                </a:path>
              </a:pathLst>
            </a:custGeom>
            <a:noFill/>
            <a:ln w="9525" cap="rnd" cmpd="sng">
              <a:solidFill>
                <a:schemeClr val="dk1"/>
              </a:solidFill>
              <a:prstDash val="solid"/>
              <a:round/>
              <a:headEnd type="none" w="sm" len="sm"/>
              <a:tailEnd type="none" w="sm" len="sm"/>
            </a:ln>
          </p:spPr>
          <p:txBody>
            <a:bodyPr spcFirstLastPara="1" wrap="square" lIns="95750" tIns="50750" rIns="95750" bIns="5075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22" name="Google Shape;222;p16"/>
            <p:cNvSpPr/>
            <p:nvPr/>
          </p:nvSpPr>
          <p:spPr>
            <a:xfrm>
              <a:off x="6561705" y="314522"/>
              <a:ext cx="83480" cy="25026"/>
            </a:xfrm>
            <a:custGeom>
              <a:avLst/>
              <a:gdLst/>
              <a:ahLst/>
              <a:cxnLst/>
              <a:rect l="l" t="t" r="r" b="b"/>
              <a:pathLst>
                <a:path w="477" h="143" extrusionOk="0">
                  <a:moveTo>
                    <a:pt x="0" y="0"/>
                  </a:moveTo>
                  <a:lnTo>
                    <a:pt x="0" y="0"/>
                  </a:lnTo>
                  <a:cubicBezTo>
                    <a:pt x="414" y="0"/>
                    <a:pt x="414" y="0"/>
                    <a:pt x="414" y="0"/>
                  </a:cubicBezTo>
                  <a:cubicBezTo>
                    <a:pt x="453" y="0"/>
                    <a:pt x="477" y="31"/>
                    <a:pt x="477" y="71"/>
                  </a:cubicBezTo>
                  <a:lnTo>
                    <a:pt x="477" y="71"/>
                  </a:lnTo>
                  <a:cubicBezTo>
                    <a:pt x="477" y="111"/>
                    <a:pt x="453" y="143"/>
                    <a:pt x="414" y="143"/>
                  </a:cubicBezTo>
                  <a:cubicBezTo>
                    <a:pt x="0" y="143"/>
                    <a:pt x="0" y="143"/>
                    <a:pt x="0" y="143"/>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700" rIns="95750" bIns="700"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sp>
          <p:nvSpPr>
            <p:cNvPr id="223" name="Google Shape;223;p16"/>
            <p:cNvSpPr/>
            <p:nvPr/>
          </p:nvSpPr>
          <p:spPr>
            <a:xfrm>
              <a:off x="6561705" y="240668"/>
              <a:ext cx="83480" cy="25201"/>
            </a:xfrm>
            <a:custGeom>
              <a:avLst/>
              <a:gdLst/>
              <a:ahLst/>
              <a:cxnLst/>
              <a:rect l="l" t="t" r="r" b="b"/>
              <a:pathLst>
                <a:path w="477" h="144" extrusionOk="0">
                  <a:moveTo>
                    <a:pt x="0" y="0"/>
                  </a:moveTo>
                  <a:lnTo>
                    <a:pt x="0" y="0"/>
                  </a:lnTo>
                  <a:cubicBezTo>
                    <a:pt x="414" y="0"/>
                    <a:pt x="414" y="0"/>
                    <a:pt x="414" y="0"/>
                  </a:cubicBezTo>
                  <a:cubicBezTo>
                    <a:pt x="453" y="0"/>
                    <a:pt x="477" y="32"/>
                    <a:pt x="477" y="72"/>
                  </a:cubicBezTo>
                  <a:lnTo>
                    <a:pt x="477" y="72"/>
                  </a:lnTo>
                  <a:cubicBezTo>
                    <a:pt x="477" y="112"/>
                    <a:pt x="453" y="144"/>
                    <a:pt x="414" y="144"/>
                  </a:cubicBezTo>
                  <a:cubicBezTo>
                    <a:pt x="0" y="144"/>
                    <a:pt x="0" y="144"/>
                    <a:pt x="0" y="144"/>
                  </a:cubicBezTo>
                  <a:lnTo>
                    <a:pt x="0" y="0"/>
                  </a:lnTo>
                  <a:close/>
                </a:path>
              </a:pathLst>
            </a:custGeom>
            <a:noFill/>
            <a:ln w="9525" cap="rnd" cmpd="sng">
              <a:solidFill>
                <a:schemeClr val="dk1"/>
              </a:solidFill>
              <a:prstDash val="solid"/>
              <a:round/>
              <a:headEnd type="none" w="sm" len="sm"/>
              <a:tailEnd type="none" w="sm" len="sm"/>
            </a:ln>
          </p:spPr>
          <p:txBody>
            <a:bodyPr spcFirstLastPara="1" wrap="square" lIns="95750" tIns="1075" rIns="95750" bIns="1075" anchor="ctr" anchorCtr="1">
              <a:noAutofit/>
            </a:bodyPr>
            <a:lstStyle/>
            <a:p>
              <a:pPr marL="0" marR="0" lvl="0" indent="0" algn="l" rtl="0">
                <a:spcBef>
                  <a:spcPts val="0"/>
                </a:spcBef>
                <a:spcAft>
                  <a:spcPts val="0"/>
                </a:spcAft>
                <a:buNone/>
              </a:pPr>
              <a:endParaRPr sz="1488" b="0" strike="noStrike">
                <a:solidFill>
                  <a:srgbClr val="000000"/>
                </a:solidFill>
                <a:latin typeface="Arial"/>
                <a:ea typeface="Arial"/>
                <a:cs typeface="Arial"/>
                <a:sym typeface="Arial"/>
              </a:endParaRPr>
            </a:p>
          </p:txBody>
        </p:sp>
        <p:cxnSp>
          <p:nvCxnSpPr>
            <p:cNvPr id="224" name="Google Shape;224;p16"/>
            <p:cNvCxnSpPr>
              <a:endCxn id="219" idx="3"/>
            </p:cNvCxnSpPr>
            <p:nvPr/>
          </p:nvCxnSpPr>
          <p:spPr>
            <a:xfrm rot="10800000">
              <a:off x="1053587" y="290110"/>
              <a:ext cx="5285100" cy="0"/>
            </a:xfrm>
            <a:prstGeom prst="straightConnector1">
              <a:avLst/>
            </a:prstGeom>
            <a:noFill/>
            <a:ln w="9525" cap="flat" cmpd="sng">
              <a:solidFill>
                <a:schemeClr val="dk1"/>
              </a:solidFill>
              <a:prstDash val="solid"/>
              <a:round/>
              <a:headEnd type="none" w="med" len="med"/>
              <a:tailEnd type="none" w="med" len="med"/>
            </a:ln>
          </p:spPr>
        </p:cxnSp>
        <p:cxnSp>
          <p:nvCxnSpPr>
            <p:cNvPr id="225" name="Google Shape;225;p16"/>
            <p:cNvCxnSpPr>
              <a:endCxn id="219" idx="0"/>
            </p:cNvCxnSpPr>
            <p:nvPr/>
          </p:nvCxnSpPr>
          <p:spPr>
            <a:xfrm rot="10800000">
              <a:off x="465287" y="432310"/>
              <a:ext cx="0" cy="4724700"/>
            </a:xfrm>
            <a:prstGeom prst="straightConnector1">
              <a:avLst/>
            </a:prstGeom>
            <a:noFill/>
            <a:ln w="9525" cap="flat" cmpd="sng">
              <a:solidFill>
                <a:schemeClr val="dk1"/>
              </a:solidFill>
              <a:prstDash val="solid"/>
              <a:round/>
              <a:headEnd type="none" w="med" len="med"/>
              <a:tailEnd type="none" w="med" len="med"/>
            </a:ln>
          </p:spPr>
        </p:cxnSp>
      </p:grpSp>
      <p:sp>
        <p:nvSpPr>
          <p:cNvPr id="226" name="Google Shape;226;p16"/>
          <p:cNvSpPr txBox="1">
            <a:spLocks noGrp="1"/>
          </p:cNvSpPr>
          <p:nvPr>
            <p:ph type="title"/>
          </p:nvPr>
        </p:nvSpPr>
        <p:spPr>
          <a:xfrm>
            <a:off x="589649" y="1121461"/>
            <a:ext cx="6380336" cy="1190474"/>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 name="Foliennummernplatzhalter 1">
            <a:extLst>
              <a:ext uri="{FF2B5EF4-FFF2-40B4-BE49-F238E27FC236}">
                <a16:creationId xmlns:a16="http://schemas.microsoft.com/office/drawing/2014/main" id="{0C4B6B10-6397-BF2C-ECE6-4EEC21C7C196}"/>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rgbClr val="FFFFFF"/>
        </a:solidFill>
        <a:effectLst/>
      </p:bgPr>
    </p:bg>
    <p:spTree>
      <p:nvGrpSpPr>
        <p:cNvPr id="1" name="Shape 5"/>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0178D3-CD4B-EFFC-F2C7-37A47636BB4E}"/>
              </a:ext>
            </a:extLst>
          </p:cNvPr>
          <p:cNvGraphicFramePr>
            <a:graphicFrameLocks noChangeAspect="1"/>
          </p:cNvGraphicFramePr>
          <p:nvPr userDrawn="1">
            <p:custDataLst>
              <p:tags r:id="rId14"/>
            </p:custDataLst>
            <p:extLst>
              <p:ext uri="{D42A27DB-BD31-4B8C-83A1-F6EECF244321}">
                <p14:modId xmlns:p14="http://schemas.microsoft.com/office/powerpoint/2010/main" val="1121259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25" imgH="426" progId="TCLayout.ActiveDocument.1">
                  <p:embed/>
                </p:oleObj>
              </mc:Choice>
              <mc:Fallback>
                <p:oleObj name="think-cell Folie" r:id="rId15" imgW="425" imgH="426" progId="TCLayout.ActiveDocument.1">
                  <p:embed/>
                  <p:pic>
                    <p:nvPicPr>
                      <p:cNvPr id="3" name="think-cell data - do not delete" hidden="1">
                        <a:extLst>
                          <a:ext uri="{FF2B5EF4-FFF2-40B4-BE49-F238E27FC236}">
                            <a16:creationId xmlns:a16="http://schemas.microsoft.com/office/drawing/2014/main" id="{350178D3-CD4B-EFFC-F2C7-37A47636BB4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589649" y="1121461"/>
            <a:ext cx="6380336" cy="1190474"/>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1pPr>
            <a:lvl2pPr lvl="1"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2pPr>
            <a:lvl3pPr lvl="2"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3pPr>
            <a:lvl4pPr lvl="3"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4pPr>
            <a:lvl5pPr lvl="4"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5pPr>
            <a:lvl6pPr lvl="5"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6pPr>
            <a:lvl7pPr lvl="6"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7pPr>
            <a:lvl8pPr lvl="7"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8pPr>
            <a:lvl9pPr lvl="8" rtl="0">
              <a:spcBef>
                <a:spcPts val="0"/>
              </a:spcBef>
              <a:spcAft>
                <a:spcPts val="0"/>
              </a:spcAft>
              <a:buClr>
                <a:schemeClr val="dk1"/>
              </a:buClr>
              <a:buSzPts val="2800"/>
              <a:buFont typeface="Epilogue"/>
              <a:buNone/>
              <a:defRPr sz="2800" b="1">
                <a:solidFill>
                  <a:schemeClr val="dk1"/>
                </a:solidFill>
                <a:latin typeface="Epilogue"/>
                <a:ea typeface="Epilogue"/>
                <a:cs typeface="Epilogue"/>
                <a:sym typeface="Epilogue"/>
              </a:defRPr>
            </a:lvl9pPr>
          </a:lstStyle>
          <a:p>
            <a:endParaRPr/>
          </a:p>
        </p:txBody>
      </p:sp>
      <p:sp>
        <p:nvSpPr>
          <p:cNvPr id="7" name="Google Shape;7;p1"/>
          <p:cNvSpPr txBox="1">
            <a:spLocks noGrp="1"/>
          </p:cNvSpPr>
          <p:nvPr>
            <p:ph type="body" idx="1"/>
          </p:nvPr>
        </p:nvSpPr>
        <p:spPr>
          <a:xfrm>
            <a:off x="589649" y="2395654"/>
            <a:ext cx="6380336" cy="7101684"/>
          </a:xfrm>
          <a:prstGeom prst="rect">
            <a:avLst/>
          </a:prstGeom>
          <a:noFill/>
          <a:ln>
            <a:noFill/>
          </a:ln>
        </p:spPr>
        <p:txBody>
          <a:bodyPr spcFirstLastPara="1" wrap="square" lIns="91425" tIns="91425" rIns="91425" bIns="91425" anchor="t" anchorCtr="0">
            <a:noAutofit/>
          </a:bodyPr>
          <a:lstStyle>
            <a:lvl1pPr marL="457200" lvl="0" indent="-317500">
              <a:lnSpc>
                <a:spcPct val="115000"/>
              </a:lnSpc>
              <a:spcBef>
                <a:spcPts val="0"/>
              </a:spcBef>
              <a:spcAft>
                <a:spcPts val="0"/>
              </a:spcAft>
              <a:buClr>
                <a:schemeClr val="lt1"/>
              </a:buClr>
              <a:buSzPts val="1400"/>
              <a:buFont typeface="Sofia Sans"/>
              <a:buChar char="☐"/>
              <a:defRPr>
                <a:solidFill>
                  <a:schemeClr val="dk1"/>
                </a:solidFill>
                <a:latin typeface="Sofia Sans"/>
                <a:ea typeface="Sofia Sans"/>
                <a:cs typeface="Sofia Sans"/>
                <a:sym typeface="Sofia Sans"/>
              </a:defRPr>
            </a:lvl1pPr>
            <a:lvl2pPr marL="914400" lvl="1"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2pPr>
            <a:lvl3pPr marL="1371600" lvl="2"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3pPr>
            <a:lvl4pPr marL="1828800" lvl="3"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4pPr>
            <a:lvl5pPr marL="2286000" lvl="4"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5pPr>
            <a:lvl6pPr marL="2743200" lvl="5"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6pPr>
            <a:lvl7pPr marL="3200400" lvl="6"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7pPr>
            <a:lvl8pPr marL="3657600" lvl="7"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8pPr>
            <a:lvl9pPr marL="4114800" lvl="8" indent="-317500">
              <a:lnSpc>
                <a:spcPct val="115000"/>
              </a:lnSpc>
              <a:spcBef>
                <a:spcPts val="0"/>
              </a:spcBef>
              <a:spcAft>
                <a:spcPts val="0"/>
              </a:spcAft>
              <a:buClr>
                <a:schemeClr val="dk1"/>
              </a:buClr>
              <a:buSzPts val="1400"/>
              <a:buFont typeface="Sofia Sans"/>
              <a:buChar char="■"/>
              <a:defRPr>
                <a:solidFill>
                  <a:schemeClr val="dk1"/>
                </a:solidFill>
                <a:latin typeface="Sofia Sans"/>
                <a:ea typeface="Sofia Sans"/>
                <a:cs typeface="Sofia Sans"/>
                <a:sym typeface="Sofia Sans"/>
              </a:defRPr>
            </a:lvl9pPr>
          </a:lstStyle>
          <a:p>
            <a:endParaRPr dirty="0"/>
          </a:p>
        </p:txBody>
      </p:sp>
      <p:sp>
        <p:nvSpPr>
          <p:cNvPr id="2" name="Foliennummernplatzhalter 1">
            <a:extLst>
              <a:ext uri="{FF2B5EF4-FFF2-40B4-BE49-F238E27FC236}">
                <a16:creationId xmlns:a16="http://schemas.microsoft.com/office/drawing/2014/main" id="{FEC3EA53-ED81-6294-033F-89244D0AA930}"/>
              </a:ext>
            </a:extLst>
          </p:cNvPr>
          <p:cNvSpPr>
            <a:spLocks noGrp="1"/>
          </p:cNvSpPr>
          <p:nvPr>
            <p:ph type="sldNum" sz="quarter" idx="4"/>
          </p:nvPr>
        </p:nvSpPr>
        <p:spPr>
          <a:xfrm>
            <a:off x="5338763" y="9909175"/>
            <a:ext cx="1701800" cy="569913"/>
          </a:xfrm>
          <a:prstGeom prst="rect">
            <a:avLst/>
          </a:prstGeom>
        </p:spPr>
        <p:txBody>
          <a:bodyPr vert="horz" lIns="91440" tIns="45720" rIns="91440" bIns="45720" rtlCol="0" anchor="ctr"/>
          <a:lstStyle>
            <a:lvl1pPr algn="r">
              <a:defRPr sz="1200">
                <a:solidFill>
                  <a:schemeClr val="tx1">
                    <a:tint val="82000"/>
                  </a:schemeClr>
                </a:solidFill>
              </a:defRPr>
            </a:lvl1pPr>
          </a:lstStyle>
          <a:p>
            <a:fld id="{DF7F771E-9578-4C04-B869-01AF4C35C90C}" type="slidenum">
              <a:rPr lang="de-DE" smtClean="0"/>
              <a:t>‹Nr.›</a:t>
            </a:fld>
            <a:endParaRPr lang="de-DE"/>
          </a:p>
        </p:txBody>
      </p:sp>
    </p:spTree>
  </p:cSld>
  <p:clrMap bg1="lt1" tx1="dk1" bg2="dk2" tx2="lt2" accent1="accent1" accent2="accent2" accent3="accent3" accent4="accent4" accent5="accent5" accent6="accent6" hlink="hlink" folHlink="folHlink"/>
  <p:sldLayoutIdLst>
    <p:sldLayoutId id="2147483648" r:id="rId1"/>
    <p:sldLayoutId id="2147483651" r:id="rId2"/>
    <p:sldLayoutId id="2147483652" r:id="rId3"/>
    <p:sldLayoutId id="2147483653" r:id="rId4"/>
    <p:sldLayoutId id="2147483654" r:id="rId5"/>
    <p:sldLayoutId id="2147483656" r:id="rId6"/>
    <p:sldLayoutId id="2147483660" r:id="rId7"/>
    <p:sldLayoutId id="2147483661" r:id="rId8"/>
    <p:sldLayoutId id="2147483662" r:id="rId9"/>
    <p:sldLayoutId id="2147483663" r:id="rId10"/>
    <p:sldLayoutId id="2147483665" r:id="rId11"/>
    <p:sldLayoutId id="2147483666"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172800" marR="0" lvl="0" indent="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367" userDrawn="1">
          <p15:clr>
            <a:srgbClr val="F26B43"/>
          </p15:clr>
        </p15:guide>
        <p15:guide id="2" pos="23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9.pn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6.bin"/><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0.xml"/><Relationship Id="rId6" Type="http://schemas.openxmlformats.org/officeDocument/2006/relationships/image" Target="../media/image19.jpeg"/><Relationship Id="rId5" Type="http://schemas.openxmlformats.org/officeDocument/2006/relationships/image" Target="../media/image16.sv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 Id="rId4" Type="http://schemas.openxmlformats.org/officeDocument/2006/relationships/image" Target="../media/image22.svg"/></Relationships>
</file>

<file path=ppt/slides/_rels/slide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26.jpeg"/><Relationship Id="rId2" Type="http://schemas.openxmlformats.org/officeDocument/2006/relationships/image" Target="../media/image17.png"/><Relationship Id="rId1" Type="http://schemas.openxmlformats.org/officeDocument/2006/relationships/slideLayout" Target="../slideLayouts/slideLayout10.xml"/><Relationship Id="rId6" Type="http://schemas.openxmlformats.org/officeDocument/2006/relationships/image" Target="../media/image25.jpeg"/><Relationship Id="rId5" Type="http://schemas.openxmlformats.org/officeDocument/2006/relationships/image" Target="../media/image16.sv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3.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4.xml"/><Relationship Id="rId6" Type="http://schemas.openxmlformats.org/officeDocument/2006/relationships/image" Target="../media/image27.jpeg"/><Relationship Id="rId5" Type="http://schemas.openxmlformats.org/officeDocument/2006/relationships/image" Target="../media/image16.svg"/><Relationship Id="rId4" Type="http://schemas.openxmlformats.org/officeDocument/2006/relationships/image" Target="../media/image15.png"/></Relationships>
</file>

<file path=ppt/slides/_rels/slide2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2.xml"/><Relationship Id="rId6" Type="http://schemas.openxmlformats.org/officeDocument/2006/relationships/image" Target="../media/image28.jpeg"/><Relationship Id="rId5" Type="http://schemas.openxmlformats.org/officeDocument/2006/relationships/image" Target="../media/image16.svg"/><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8.xml"/><Relationship Id="rId5" Type="http://schemas.openxmlformats.org/officeDocument/2006/relationships/image" Target="../media/image24.svg"/><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8.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32.jpeg"/></Relationships>
</file>

<file path=ppt/slides/_rels/slide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4.xml"/><Relationship Id="rId5" Type="http://schemas.openxmlformats.org/officeDocument/2006/relationships/image" Target="../media/image16.svg"/><Relationship Id="rId4" Type="http://schemas.openxmlformats.org/officeDocument/2006/relationships/image" Target="../media/image15.png"/></Relationships>
</file>

<file path=ppt/slides/_rels/slide35.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22.svg"/><Relationship Id="rId7" Type="http://schemas.openxmlformats.org/officeDocument/2006/relationships/image" Target="../media/image36.png"/><Relationship Id="rId2" Type="http://schemas.openxmlformats.org/officeDocument/2006/relationships/image" Target="../media/image21.png"/><Relationship Id="rId1" Type="http://schemas.openxmlformats.org/officeDocument/2006/relationships/slideLayout" Target="../slideLayouts/slideLayout8.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image" Target="../media/image38.jpeg"/></Relationships>
</file>

<file path=ppt/slides/_rels/slide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4.jpe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microsoft.com/office/2018/10/relationships/comments" Target="../comments/modernComment_14E_5CE3ADEF.xml"/></Relationships>
</file>

<file path=ppt/slides/_rels/slide3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0.xml"/><Relationship Id="rId6" Type="http://schemas.openxmlformats.org/officeDocument/2006/relationships/image" Target="../media/image40.jpeg"/><Relationship Id="rId5" Type="http://schemas.openxmlformats.org/officeDocument/2006/relationships/image" Target="../media/image16.svg"/><Relationship Id="rId4" Type="http://schemas.openxmlformats.org/officeDocument/2006/relationships/image" Target="../media/image15.png"/></Relationships>
</file>

<file path=ppt/slides/_rels/slide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xml"/><Relationship Id="rId5" Type="http://schemas.openxmlformats.org/officeDocument/2006/relationships/image" Target="../media/image37.svg"/><Relationship Id="rId4" Type="http://schemas.openxmlformats.org/officeDocument/2006/relationships/image" Target="../media/image36.png"/></Relationships>
</file>

<file path=ppt/slides/_rels/slide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8.xml"/><Relationship Id="rId5" Type="http://schemas.openxmlformats.org/officeDocument/2006/relationships/image" Target="../media/image24.svg"/><Relationship Id="rId4" Type="http://schemas.openxmlformats.org/officeDocument/2006/relationships/image" Target="../media/image23.png"/></Relationships>
</file>

<file path=ppt/slides/_rels/slide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0.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43.jpeg"/></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22.svg"/><Relationship Id="rId2" Type="http://schemas.openxmlformats.org/officeDocument/2006/relationships/image" Target="../media/image41.png"/><Relationship Id="rId1" Type="http://schemas.openxmlformats.org/officeDocument/2006/relationships/slideLayout" Target="../slideLayouts/slideLayout8.xml"/><Relationship Id="rId6" Type="http://schemas.openxmlformats.org/officeDocument/2006/relationships/image" Target="../media/image21.png"/><Relationship Id="rId5" Type="http://schemas.openxmlformats.org/officeDocument/2006/relationships/image" Target="../media/image37.svg"/><Relationship Id="rId4" Type="http://schemas.openxmlformats.org/officeDocument/2006/relationships/image" Target="../media/image36.png"/></Relationships>
</file>

<file path=ppt/slides/_rels/slide4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4.xml"/><Relationship Id="rId5" Type="http://schemas.openxmlformats.org/officeDocument/2006/relationships/image" Target="../media/image48.svg"/><Relationship Id="rId4" Type="http://schemas.openxmlformats.org/officeDocument/2006/relationships/image" Target="../media/image47.png"/></Relationships>
</file>

<file path=ppt/slides/_rels/slide4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8.xml"/><Relationship Id="rId6" Type="http://schemas.openxmlformats.org/officeDocument/2006/relationships/image" Target="../media/image49.jpeg"/><Relationship Id="rId5" Type="http://schemas.openxmlformats.org/officeDocument/2006/relationships/image" Target="../media/image16.svg"/><Relationship Id="rId4" Type="http://schemas.openxmlformats.org/officeDocument/2006/relationships/image" Target="../media/image15.png"/></Relationships>
</file>

<file path=ppt/slides/_rels/slide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0.png"/><Relationship Id="rId1" Type="http://schemas.openxmlformats.org/officeDocument/2006/relationships/slideLayout" Target="../slideLayouts/slideLayout3.xml"/><Relationship Id="rId4" Type="http://schemas.openxmlformats.org/officeDocument/2006/relationships/image" Target="../media/image22.svg"/></Relationships>
</file>

<file path=ppt/slides/_rels/slide4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49.jpe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5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8.xml"/><Relationship Id="rId5" Type="http://schemas.openxmlformats.org/officeDocument/2006/relationships/image" Target="../media/image16.svg"/><Relationship Id="rId4" Type="http://schemas.openxmlformats.org/officeDocument/2006/relationships/image" Target="../media/image15.png"/></Relationships>
</file>

<file path=ppt/slides/_rels/slide5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8.xml"/><Relationship Id="rId4" Type="http://schemas.openxmlformats.org/officeDocument/2006/relationships/image" Target="../media/image50.png"/></Relationships>
</file>

<file path=ppt/slides/_rels/slide56.xml.rels><?xml version="1.0" encoding="UTF-8" standalone="yes"?>
<Relationships xmlns="http://schemas.openxmlformats.org/package/2006/relationships"><Relationship Id="rId3" Type="http://schemas.microsoft.com/office/2018/10/relationships/comments" Target="../comments/modernComment_162_C0FCADC3.xml"/><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4.jpeg"/></Relationships>
</file>

<file path=ppt/slides/_rels/slide57.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10.bin"/><Relationship Id="rId7" Type="http://schemas.openxmlformats.org/officeDocument/2006/relationships/image" Target="../media/image53.png"/><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1.emf"/><Relationship Id="rId9" Type="http://schemas.openxmlformats.org/officeDocument/2006/relationships/image" Target="../media/image55.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oleObject" Target="../embeddings/oleObject11.bin"/><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4.svg"/><Relationship Id="rId4" Type="http://schemas.openxmlformats.org/officeDocument/2006/relationships/image" Target="../media/image1.emf"/><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3.xml"/><Relationship Id="rId5" Type="http://schemas.openxmlformats.org/officeDocument/2006/relationships/image" Target="../media/image22.svg"/><Relationship Id="rId4" Type="http://schemas.openxmlformats.org/officeDocument/2006/relationships/image" Target="../media/image21.png"/></Relationships>
</file>

<file path=ppt/slides/_rels/slide6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5.xml"/><Relationship Id="rId5" Type="http://schemas.openxmlformats.org/officeDocument/2006/relationships/image" Target="../media/image24.svg"/><Relationship Id="rId4" Type="http://schemas.openxmlformats.org/officeDocument/2006/relationships/image" Target="../media/image23.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56.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6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cxnSp>
        <p:nvCxnSpPr>
          <p:cNvPr id="24" name="Google Shape;305;p24">
            <a:extLst>
              <a:ext uri="{FF2B5EF4-FFF2-40B4-BE49-F238E27FC236}">
                <a16:creationId xmlns:a16="http://schemas.microsoft.com/office/drawing/2014/main" id="{AECB668F-EBBF-2090-3C7A-7A2C67586275}"/>
              </a:ext>
            </a:extLst>
          </p:cNvPr>
          <p:cNvCxnSpPr>
            <a:cxnSpLocks/>
          </p:cNvCxnSpPr>
          <p:nvPr/>
        </p:nvCxnSpPr>
        <p:spPr>
          <a:xfrm>
            <a:off x="3779838" y="5210175"/>
            <a:ext cx="0" cy="5812266"/>
          </a:xfrm>
          <a:prstGeom prst="straightConnector1">
            <a:avLst/>
          </a:prstGeom>
          <a:noFill/>
          <a:ln w="9525" cap="flat" cmpd="sng">
            <a:solidFill>
              <a:schemeClr val="dk1"/>
            </a:solidFill>
            <a:prstDash val="dash"/>
            <a:round/>
            <a:headEnd type="none" w="med" len="med"/>
            <a:tailEnd type="none" w="med" len="med"/>
          </a:ln>
        </p:spPr>
      </p:cxnSp>
      <p:cxnSp>
        <p:nvCxnSpPr>
          <p:cNvPr id="20" name="Google Shape;305;p24">
            <a:extLst>
              <a:ext uri="{FF2B5EF4-FFF2-40B4-BE49-F238E27FC236}">
                <a16:creationId xmlns:a16="http://schemas.microsoft.com/office/drawing/2014/main" id="{C4482A4E-0C0A-7E91-43CE-F77F3B3F69E3}"/>
              </a:ext>
            </a:extLst>
          </p:cNvPr>
          <p:cNvCxnSpPr>
            <a:cxnSpLocks/>
          </p:cNvCxnSpPr>
          <p:nvPr/>
        </p:nvCxnSpPr>
        <p:spPr>
          <a:xfrm>
            <a:off x="2712632" y="-295275"/>
            <a:ext cx="0" cy="10987088"/>
          </a:xfrm>
          <a:prstGeom prst="straightConnector1">
            <a:avLst/>
          </a:prstGeom>
          <a:noFill/>
          <a:ln w="9525" cap="flat" cmpd="sng">
            <a:solidFill>
              <a:schemeClr val="dk1"/>
            </a:solidFill>
            <a:prstDash val="dash"/>
            <a:round/>
            <a:headEnd type="none" w="med" len="med"/>
            <a:tailEnd type="none" w="med" len="med"/>
          </a:ln>
        </p:spPr>
      </p:cxnSp>
      <p:cxnSp>
        <p:nvCxnSpPr>
          <p:cNvPr id="18" name="Google Shape;305;p24">
            <a:extLst>
              <a:ext uri="{FF2B5EF4-FFF2-40B4-BE49-F238E27FC236}">
                <a16:creationId xmlns:a16="http://schemas.microsoft.com/office/drawing/2014/main" id="{3CA27CFD-202E-4CD5-8537-6C808B0DF954}"/>
              </a:ext>
            </a:extLst>
          </p:cNvPr>
          <p:cNvCxnSpPr>
            <a:cxnSpLocks/>
          </p:cNvCxnSpPr>
          <p:nvPr/>
        </p:nvCxnSpPr>
        <p:spPr>
          <a:xfrm>
            <a:off x="2517970" y="2970879"/>
            <a:ext cx="5454455" cy="0"/>
          </a:xfrm>
          <a:prstGeom prst="straightConnector1">
            <a:avLst/>
          </a:prstGeom>
          <a:noFill/>
          <a:ln w="9525" cap="flat" cmpd="sng">
            <a:solidFill>
              <a:schemeClr val="dk1"/>
            </a:solidFill>
            <a:prstDash val="dash"/>
            <a:round/>
            <a:headEnd type="none" w="med" len="med"/>
            <a:tailEnd type="none" w="med" len="med"/>
          </a:ln>
        </p:spPr>
      </p:cxnSp>
      <p:cxnSp>
        <p:nvCxnSpPr>
          <p:cNvPr id="16" name="Google Shape;305;p24">
            <a:extLst>
              <a:ext uri="{FF2B5EF4-FFF2-40B4-BE49-F238E27FC236}">
                <a16:creationId xmlns:a16="http://schemas.microsoft.com/office/drawing/2014/main" id="{52E5B712-94F2-6990-442F-ABFA4F2E4DF5}"/>
              </a:ext>
            </a:extLst>
          </p:cNvPr>
          <p:cNvCxnSpPr>
            <a:cxnSpLocks/>
          </p:cNvCxnSpPr>
          <p:nvPr/>
        </p:nvCxnSpPr>
        <p:spPr>
          <a:xfrm>
            <a:off x="-177605" y="4007278"/>
            <a:ext cx="8483405" cy="0"/>
          </a:xfrm>
          <a:prstGeom prst="straightConnector1">
            <a:avLst/>
          </a:prstGeom>
          <a:noFill/>
          <a:ln w="9525" cap="flat" cmpd="sng">
            <a:solidFill>
              <a:schemeClr val="dk1"/>
            </a:solidFill>
            <a:prstDash val="dash"/>
            <a:round/>
            <a:headEnd type="none" w="med" len="med"/>
            <a:tailEnd type="none" w="med" len="med"/>
          </a:ln>
        </p:spPr>
      </p:cxnSp>
      <p:sp>
        <p:nvSpPr>
          <p:cNvPr id="15" name="Rechteck 14">
            <a:extLst>
              <a:ext uri="{FF2B5EF4-FFF2-40B4-BE49-F238E27FC236}">
                <a16:creationId xmlns:a16="http://schemas.microsoft.com/office/drawing/2014/main" id="{C063A260-5050-6FE0-6783-D8FC8E6864DB}"/>
              </a:ext>
            </a:extLst>
          </p:cNvPr>
          <p:cNvSpPr/>
          <p:nvPr/>
        </p:nvSpPr>
        <p:spPr>
          <a:xfrm>
            <a:off x="2428875" y="2952750"/>
            <a:ext cx="4705350" cy="489585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itel 2">
            <a:extLst>
              <a:ext uri="{FF2B5EF4-FFF2-40B4-BE49-F238E27FC236}">
                <a16:creationId xmlns:a16="http://schemas.microsoft.com/office/drawing/2014/main" id="{09B6353F-CB41-C93E-F3AB-4184CA505A42}"/>
              </a:ext>
            </a:extLst>
          </p:cNvPr>
          <p:cNvSpPr>
            <a:spLocks noGrp="1"/>
          </p:cNvSpPr>
          <p:nvPr>
            <p:ph type="ctrTitle"/>
          </p:nvPr>
        </p:nvSpPr>
        <p:spPr>
          <a:xfrm>
            <a:off x="2712632" y="5783342"/>
            <a:ext cx="3802468" cy="1389655"/>
          </a:xfrm>
        </p:spPr>
        <p:txBody>
          <a:bodyPr/>
          <a:lstStyle/>
          <a:p>
            <a:r>
              <a:rPr lang="de-DE" sz="4000">
                <a:solidFill>
                  <a:srgbClr val="FFFFFF"/>
                </a:solidFill>
              </a:rPr>
              <a:t>PV Education HUB</a:t>
            </a:r>
          </a:p>
        </p:txBody>
      </p:sp>
      <p:cxnSp>
        <p:nvCxnSpPr>
          <p:cNvPr id="22" name="Google Shape;305;p24">
            <a:extLst>
              <a:ext uri="{FF2B5EF4-FFF2-40B4-BE49-F238E27FC236}">
                <a16:creationId xmlns:a16="http://schemas.microsoft.com/office/drawing/2014/main" id="{F5ACB900-DE4B-EE7A-E9CB-45BB973F31C4}"/>
              </a:ext>
            </a:extLst>
          </p:cNvPr>
          <p:cNvCxnSpPr>
            <a:cxnSpLocks/>
          </p:cNvCxnSpPr>
          <p:nvPr/>
        </p:nvCxnSpPr>
        <p:spPr>
          <a:xfrm>
            <a:off x="-2727228" y="8331628"/>
            <a:ext cx="6507066" cy="0"/>
          </a:xfrm>
          <a:prstGeom prst="straightConnector1">
            <a:avLst/>
          </a:prstGeom>
          <a:noFill/>
          <a:ln w="9525" cap="flat" cmpd="sng">
            <a:solidFill>
              <a:schemeClr val="dk1"/>
            </a:solidFill>
            <a:prstDash val="dash"/>
            <a:round/>
            <a:headEnd type="none" w="med" len="med"/>
            <a:tailEnd type="none" w="med" len="med"/>
          </a:ln>
        </p:spPr>
      </p:cxnSp>
      <p:sp>
        <p:nvSpPr>
          <p:cNvPr id="27" name="Titel 2">
            <a:extLst>
              <a:ext uri="{FF2B5EF4-FFF2-40B4-BE49-F238E27FC236}">
                <a16:creationId xmlns:a16="http://schemas.microsoft.com/office/drawing/2014/main" id="{234762BF-E11B-A3E5-57C0-B7A398DF31CC}"/>
              </a:ext>
            </a:extLst>
          </p:cNvPr>
          <p:cNvSpPr txBox="1">
            <a:spLocks/>
          </p:cNvSpPr>
          <p:nvPr/>
        </p:nvSpPr>
        <p:spPr>
          <a:xfrm>
            <a:off x="2727068" y="7067873"/>
            <a:ext cx="3802468" cy="491532"/>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191919"/>
              </a:buClr>
              <a:buSzPts val="4200"/>
              <a:buFont typeface="Epilogue"/>
              <a:buNone/>
              <a:defRPr sz="3472" b="1" i="0" u="none" strike="noStrike" cap="none">
                <a:solidFill>
                  <a:schemeClr val="dk1"/>
                </a:solidFill>
                <a:latin typeface="Epilogue"/>
                <a:ea typeface="Epilogue"/>
                <a:cs typeface="Epilogue"/>
                <a:sym typeface="Epilogue"/>
              </a:defRPr>
            </a:lvl1pPr>
            <a:lvl2pPr marR="0" lvl="1"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2pPr>
            <a:lvl3pPr marR="0" lvl="2"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3pPr>
            <a:lvl4pPr marR="0" lvl="3"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4pPr>
            <a:lvl5pPr marR="0" lvl="4"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5pPr>
            <a:lvl6pPr marR="0" lvl="5"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6pPr>
            <a:lvl7pPr marR="0" lvl="6"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7pPr>
            <a:lvl8pPr marR="0" lvl="7"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8pPr>
            <a:lvl9pPr marR="0" lvl="8" algn="ctr" rtl="0">
              <a:lnSpc>
                <a:spcPct val="100000"/>
              </a:lnSpc>
              <a:spcBef>
                <a:spcPts val="0"/>
              </a:spcBef>
              <a:spcAft>
                <a:spcPts val="0"/>
              </a:spcAft>
              <a:buClr>
                <a:srgbClr val="191919"/>
              </a:buClr>
              <a:buSzPts val="4200"/>
              <a:buFont typeface="Epilogue"/>
              <a:buNone/>
              <a:defRPr sz="3472" b="1" i="0" u="none" strike="noStrike" cap="none">
                <a:solidFill>
                  <a:srgbClr val="191919"/>
                </a:solidFill>
                <a:latin typeface="Epilogue"/>
                <a:ea typeface="Epilogue"/>
                <a:cs typeface="Epilogue"/>
                <a:sym typeface="Epilogue"/>
              </a:defRPr>
            </a:lvl9pPr>
          </a:lstStyle>
          <a:p>
            <a:r>
              <a:rPr lang="de-DE" sz="2000" b="0">
                <a:solidFill>
                  <a:srgbClr val="FFFFFF"/>
                </a:solidFill>
              </a:rPr>
              <a:t>TUM x KNUST</a:t>
            </a:r>
          </a:p>
        </p:txBody>
      </p:sp>
      <p:pic>
        <p:nvPicPr>
          <p:cNvPr id="7" name="Grafik 6" descr="Ein Bild, das Cartoon enthält.&#10;&#10;Automatisch generierte Beschreibung">
            <a:extLst>
              <a:ext uri="{FF2B5EF4-FFF2-40B4-BE49-F238E27FC236}">
                <a16:creationId xmlns:a16="http://schemas.microsoft.com/office/drawing/2014/main" id="{902EDDA3-DE92-36B5-CB79-A8C219906520}"/>
              </a:ext>
            </a:extLst>
          </p:cNvPr>
          <p:cNvPicPr>
            <a:picLocks noChangeAspect="1"/>
          </p:cNvPicPr>
          <p:nvPr/>
        </p:nvPicPr>
        <p:blipFill rotWithShape="1">
          <a:blip r:embed="rId3"/>
          <a:srcRect l="51078" t="74771" r="27626" b="4431"/>
          <a:stretch/>
        </p:blipFill>
        <p:spPr>
          <a:xfrm>
            <a:off x="2727067" y="4371070"/>
            <a:ext cx="1402007" cy="1389655"/>
          </a:xfrm>
          <a:prstGeom prst="ellipse">
            <a:avLst/>
          </a:prstGeom>
        </p:spPr>
      </p:pic>
    </p:spTree>
    <p:extLst>
      <p:ext uri="{BB962C8B-B14F-4D97-AF65-F5344CB8AC3E}">
        <p14:creationId xmlns:p14="http://schemas.microsoft.com/office/powerpoint/2010/main" val="2974701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AEAAF36-E0FA-E30C-0C91-42CE358E8A7B}"/>
              </a:ext>
            </a:extLst>
          </p:cNvPr>
          <p:cNvGraphicFramePr>
            <a:graphicFrameLocks noChangeAspect="1"/>
          </p:cNvGraphicFramePr>
          <p:nvPr>
            <p:custDataLst>
              <p:tags r:id="rId1"/>
            </p:custDataLst>
            <p:extLst>
              <p:ext uri="{D42A27DB-BD31-4B8C-83A1-F6EECF244321}">
                <p14:modId xmlns:p14="http://schemas.microsoft.com/office/powerpoint/2010/main" val="219736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6" name="think-cell data - do not delete" hidden="1">
                        <a:extLst>
                          <a:ext uri="{FF2B5EF4-FFF2-40B4-BE49-F238E27FC236}">
                            <a16:creationId xmlns:a16="http://schemas.microsoft.com/office/drawing/2014/main" id="{DAEAAF36-E0FA-E30C-0C91-42CE358E8A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2A3E48C7-66B3-8E43-D84C-5656A0AABA93}"/>
              </a:ext>
            </a:extLst>
          </p:cNvPr>
          <p:cNvSpPr>
            <a:spLocks noGrp="1"/>
          </p:cNvSpPr>
          <p:nvPr>
            <p:ph type="sldNum" sz="quarter" idx="4"/>
          </p:nvPr>
        </p:nvSpPr>
        <p:spPr/>
        <p:txBody>
          <a:bodyPr/>
          <a:lstStyle/>
          <a:p>
            <a:fld id="{DF7F771E-9578-4C04-B869-01AF4C35C90C}" type="slidenum">
              <a:rPr lang="de-DE" smtClean="0"/>
              <a:t>10</a:t>
            </a:fld>
            <a:endParaRPr lang="de-DE"/>
          </a:p>
        </p:txBody>
      </p:sp>
      <p:pic>
        <p:nvPicPr>
          <p:cNvPr id="5" name="Grafik 4">
            <a:extLst>
              <a:ext uri="{FF2B5EF4-FFF2-40B4-BE49-F238E27FC236}">
                <a16:creationId xmlns:a16="http://schemas.microsoft.com/office/drawing/2014/main" id="{BD0DB370-E7C8-CA92-2F5E-310413F000E0}"/>
              </a:ext>
            </a:extLst>
          </p:cNvPr>
          <p:cNvPicPr>
            <a:picLocks noChangeAspect="1"/>
          </p:cNvPicPr>
          <p:nvPr/>
        </p:nvPicPr>
        <p:blipFill rotWithShape="1">
          <a:blip r:embed="rId5"/>
          <a:srcRect t="8972" b="6195"/>
          <a:stretch/>
        </p:blipFill>
        <p:spPr>
          <a:xfrm>
            <a:off x="729484" y="2282905"/>
            <a:ext cx="3598191" cy="2913133"/>
          </a:xfrm>
          <a:prstGeom prst="rect">
            <a:avLst/>
          </a:prstGeom>
        </p:spPr>
      </p:pic>
      <p:sp>
        <p:nvSpPr>
          <p:cNvPr id="7" name="Textfeld 6">
            <a:extLst>
              <a:ext uri="{FF2B5EF4-FFF2-40B4-BE49-F238E27FC236}">
                <a16:creationId xmlns:a16="http://schemas.microsoft.com/office/drawing/2014/main" id="{FB9EF7BC-6B66-9106-4C9F-EBA43922F27B}"/>
              </a:ext>
            </a:extLst>
          </p:cNvPr>
          <p:cNvSpPr txBox="1"/>
          <p:nvPr/>
        </p:nvSpPr>
        <p:spPr>
          <a:xfrm>
            <a:off x="703739" y="5196038"/>
            <a:ext cx="3592076" cy="806375"/>
          </a:xfrm>
          <a:prstGeom prst="rect">
            <a:avLst/>
          </a:prstGeom>
          <a:noFill/>
        </p:spPr>
        <p:txBody>
          <a:bodyPr wrap="square">
            <a:spAutoFit/>
          </a:bodyPr>
          <a:lstStyle/>
          <a:p>
            <a:r>
              <a:rPr lang="en-US" sz="1160">
                <a:latin typeface="Sofia Sans" panose="020B0604020202020204" charset="0"/>
              </a:rPr>
              <a:t>Materials needed to build the holder: two bottom pieces (A), one middle strap (B), one placer for PV panel (C), one element to move the position (D) and 6 screws (2 long, 4 short ones)</a:t>
            </a:r>
          </a:p>
        </p:txBody>
      </p:sp>
      <p:pic>
        <p:nvPicPr>
          <p:cNvPr id="9" name="Grafik 8">
            <a:extLst>
              <a:ext uri="{FF2B5EF4-FFF2-40B4-BE49-F238E27FC236}">
                <a16:creationId xmlns:a16="http://schemas.microsoft.com/office/drawing/2014/main" id="{E13E5890-ABFB-F0AA-3499-A09E7360FDAF}"/>
              </a:ext>
            </a:extLst>
          </p:cNvPr>
          <p:cNvPicPr>
            <a:picLocks noChangeAspect="1"/>
          </p:cNvPicPr>
          <p:nvPr/>
        </p:nvPicPr>
        <p:blipFill>
          <a:blip r:embed="rId6"/>
          <a:stretch>
            <a:fillRect/>
          </a:stretch>
        </p:blipFill>
        <p:spPr>
          <a:xfrm>
            <a:off x="736916" y="6823454"/>
            <a:ext cx="3576677" cy="3007114"/>
          </a:xfrm>
          <a:prstGeom prst="rect">
            <a:avLst/>
          </a:prstGeom>
        </p:spPr>
      </p:pic>
      <p:sp>
        <p:nvSpPr>
          <p:cNvPr id="10" name="Textfeld 9">
            <a:extLst>
              <a:ext uri="{FF2B5EF4-FFF2-40B4-BE49-F238E27FC236}">
                <a16:creationId xmlns:a16="http://schemas.microsoft.com/office/drawing/2014/main" id="{1E804A19-659B-0886-ECCD-64815F155926}"/>
              </a:ext>
            </a:extLst>
          </p:cNvPr>
          <p:cNvSpPr txBox="1"/>
          <p:nvPr/>
        </p:nvSpPr>
        <p:spPr>
          <a:xfrm>
            <a:off x="721517" y="8951851"/>
            <a:ext cx="1473018" cy="806375"/>
          </a:xfrm>
          <a:prstGeom prst="rect">
            <a:avLst/>
          </a:prstGeom>
          <a:solidFill>
            <a:srgbClr val="FFFFFF"/>
          </a:solidFill>
        </p:spPr>
        <p:txBody>
          <a:bodyPr wrap="square">
            <a:spAutoFit/>
          </a:bodyPr>
          <a:lstStyle/>
          <a:p>
            <a:r>
              <a:rPr lang="en-US" sz="1160">
                <a:latin typeface="Sofia Sans" panose="020B0604020202020204" charset="0"/>
              </a:rPr>
              <a:t>The pieces (A, B, and D) can be connected by using the screws</a:t>
            </a:r>
          </a:p>
        </p:txBody>
      </p:sp>
      <p:sp>
        <p:nvSpPr>
          <p:cNvPr id="11" name="Textfeld 10">
            <a:extLst>
              <a:ext uri="{FF2B5EF4-FFF2-40B4-BE49-F238E27FC236}">
                <a16:creationId xmlns:a16="http://schemas.microsoft.com/office/drawing/2014/main" id="{747E90B6-730A-A316-7D66-AC9CBE07CDB0}"/>
              </a:ext>
            </a:extLst>
          </p:cNvPr>
          <p:cNvSpPr txBox="1"/>
          <p:nvPr/>
        </p:nvSpPr>
        <p:spPr>
          <a:xfrm>
            <a:off x="721516" y="6317851"/>
            <a:ext cx="3607476" cy="449354"/>
          </a:xfrm>
          <a:prstGeom prst="rect">
            <a:avLst/>
          </a:prstGeom>
          <a:solidFill>
            <a:srgbClr val="FFFFFF"/>
          </a:solidFill>
        </p:spPr>
        <p:txBody>
          <a:bodyPr wrap="square">
            <a:spAutoFit/>
          </a:bodyPr>
          <a:lstStyle/>
          <a:p>
            <a:r>
              <a:rPr lang="en-US" sz="1160">
                <a:latin typeface="Sofia Sans" panose="020B0604020202020204" charset="0"/>
              </a:rPr>
              <a:t>Please note that for the placer there are two options (one for the big panel and one for the small panels)</a:t>
            </a:r>
          </a:p>
        </p:txBody>
      </p:sp>
      <p:sp>
        <p:nvSpPr>
          <p:cNvPr id="12" name="Textfeld 11">
            <a:extLst>
              <a:ext uri="{FF2B5EF4-FFF2-40B4-BE49-F238E27FC236}">
                <a16:creationId xmlns:a16="http://schemas.microsoft.com/office/drawing/2014/main" id="{D63A65A3-277A-8B8F-EE74-8539A39D38FE}"/>
              </a:ext>
            </a:extLst>
          </p:cNvPr>
          <p:cNvSpPr txBox="1"/>
          <p:nvPr/>
        </p:nvSpPr>
        <p:spPr>
          <a:xfrm>
            <a:off x="2614617" y="6823454"/>
            <a:ext cx="1862436" cy="1520416"/>
          </a:xfrm>
          <a:prstGeom prst="rect">
            <a:avLst/>
          </a:prstGeom>
          <a:solidFill>
            <a:srgbClr val="FFFFFF"/>
          </a:solidFill>
        </p:spPr>
        <p:txBody>
          <a:bodyPr wrap="square" anchor="b">
            <a:spAutoFit/>
          </a:bodyPr>
          <a:lstStyle/>
          <a:p>
            <a:endParaRPr lang="en-US" sz="1160">
              <a:latin typeface="Sofia Sans" panose="020B0604020202020204" charset="0"/>
            </a:endParaRPr>
          </a:p>
          <a:p>
            <a:endParaRPr lang="en-US" sz="1160">
              <a:latin typeface="Sofia Sans" panose="020B0604020202020204" charset="0"/>
            </a:endParaRPr>
          </a:p>
          <a:p>
            <a:endParaRPr lang="en-US" sz="1160">
              <a:latin typeface="Sofia Sans" panose="020B0604020202020204" charset="0"/>
            </a:endParaRPr>
          </a:p>
          <a:p>
            <a:r>
              <a:rPr lang="en-US" sz="1160">
                <a:latin typeface="Sofia Sans" panose="020B0604020202020204" charset="0"/>
              </a:rPr>
              <a:t>The small panels are soldered to the banana plugs, this allows an easy connecting of the panels (series or parallel)</a:t>
            </a:r>
          </a:p>
        </p:txBody>
      </p:sp>
      <p:pic>
        <p:nvPicPr>
          <p:cNvPr id="14" name="Grafik 13">
            <a:extLst>
              <a:ext uri="{FF2B5EF4-FFF2-40B4-BE49-F238E27FC236}">
                <a16:creationId xmlns:a16="http://schemas.microsoft.com/office/drawing/2014/main" id="{F8C9F139-61BD-7B70-252F-A34778633368}"/>
              </a:ext>
            </a:extLst>
          </p:cNvPr>
          <p:cNvPicPr>
            <a:picLocks noChangeAspect="1"/>
          </p:cNvPicPr>
          <p:nvPr/>
        </p:nvPicPr>
        <p:blipFill rotWithShape="1">
          <a:blip r:embed="rId7"/>
          <a:srcRect t="14874" b="6930"/>
          <a:stretch/>
        </p:blipFill>
        <p:spPr>
          <a:xfrm>
            <a:off x="4695279" y="2311935"/>
            <a:ext cx="1977680" cy="1826307"/>
          </a:xfrm>
          <a:prstGeom prst="rect">
            <a:avLst/>
          </a:prstGeom>
        </p:spPr>
      </p:pic>
      <p:sp>
        <p:nvSpPr>
          <p:cNvPr id="15" name="Textfeld 14">
            <a:extLst>
              <a:ext uri="{FF2B5EF4-FFF2-40B4-BE49-F238E27FC236}">
                <a16:creationId xmlns:a16="http://schemas.microsoft.com/office/drawing/2014/main" id="{D373EA74-B826-39D1-9557-8CBAB8F8559B}"/>
              </a:ext>
            </a:extLst>
          </p:cNvPr>
          <p:cNvSpPr txBox="1"/>
          <p:nvPr/>
        </p:nvSpPr>
        <p:spPr>
          <a:xfrm>
            <a:off x="4651308" y="4187858"/>
            <a:ext cx="1977680" cy="270843"/>
          </a:xfrm>
          <a:prstGeom prst="rect">
            <a:avLst/>
          </a:prstGeom>
          <a:solidFill>
            <a:srgbClr val="FFFFFF"/>
          </a:solidFill>
        </p:spPr>
        <p:txBody>
          <a:bodyPr wrap="square">
            <a:spAutoFit/>
          </a:bodyPr>
          <a:lstStyle/>
          <a:p>
            <a:r>
              <a:rPr lang="en-US" sz="1160">
                <a:latin typeface="Sofia Sans" panose="020B0604020202020204" charset="0"/>
              </a:rPr>
              <a:t>Multimeter and cables</a:t>
            </a:r>
          </a:p>
        </p:txBody>
      </p:sp>
      <p:pic>
        <p:nvPicPr>
          <p:cNvPr id="17" name="Grafik 16">
            <a:extLst>
              <a:ext uri="{FF2B5EF4-FFF2-40B4-BE49-F238E27FC236}">
                <a16:creationId xmlns:a16="http://schemas.microsoft.com/office/drawing/2014/main" id="{BA09DB88-8A01-8451-CFEB-EDB8E0E93A1F}"/>
              </a:ext>
            </a:extLst>
          </p:cNvPr>
          <p:cNvPicPr>
            <a:picLocks noChangeAspect="1"/>
          </p:cNvPicPr>
          <p:nvPr/>
        </p:nvPicPr>
        <p:blipFill>
          <a:blip r:embed="rId8"/>
          <a:stretch>
            <a:fillRect/>
          </a:stretch>
        </p:blipFill>
        <p:spPr>
          <a:xfrm>
            <a:off x="4695280" y="4494977"/>
            <a:ext cx="1933708" cy="2206577"/>
          </a:xfrm>
          <a:prstGeom prst="rect">
            <a:avLst/>
          </a:prstGeom>
        </p:spPr>
      </p:pic>
      <p:sp>
        <p:nvSpPr>
          <p:cNvPr id="18" name="Textfeld 17">
            <a:extLst>
              <a:ext uri="{FF2B5EF4-FFF2-40B4-BE49-F238E27FC236}">
                <a16:creationId xmlns:a16="http://schemas.microsoft.com/office/drawing/2014/main" id="{47B9C46D-E5E8-10DE-8B09-D7D25B7D4077}"/>
              </a:ext>
            </a:extLst>
          </p:cNvPr>
          <p:cNvSpPr txBox="1"/>
          <p:nvPr/>
        </p:nvSpPr>
        <p:spPr>
          <a:xfrm>
            <a:off x="4651308" y="6701554"/>
            <a:ext cx="2021651" cy="449354"/>
          </a:xfrm>
          <a:prstGeom prst="rect">
            <a:avLst/>
          </a:prstGeom>
          <a:solidFill>
            <a:srgbClr val="FFFFFF"/>
          </a:solidFill>
        </p:spPr>
        <p:txBody>
          <a:bodyPr wrap="square">
            <a:spAutoFit/>
          </a:bodyPr>
          <a:lstStyle/>
          <a:p>
            <a:r>
              <a:rPr lang="en-US" sz="1160">
                <a:latin typeface="Sofia Sans" panose="020B0604020202020204" charset="0"/>
              </a:rPr>
              <a:t>Different sizes of PV panels (at least 2-3 small ones)</a:t>
            </a:r>
          </a:p>
        </p:txBody>
      </p:sp>
      <p:pic>
        <p:nvPicPr>
          <p:cNvPr id="20" name="Grafik 19">
            <a:extLst>
              <a:ext uri="{FF2B5EF4-FFF2-40B4-BE49-F238E27FC236}">
                <a16:creationId xmlns:a16="http://schemas.microsoft.com/office/drawing/2014/main" id="{AA940CC8-169C-AEB6-6071-8956A7972498}"/>
              </a:ext>
            </a:extLst>
          </p:cNvPr>
          <p:cNvPicPr>
            <a:picLocks noChangeAspect="1"/>
          </p:cNvPicPr>
          <p:nvPr/>
        </p:nvPicPr>
        <p:blipFill>
          <a:blip r:embed="rId9"/>
          <a:stretch>
            <a:fillRect/>
          </a:stretch>
        </p:blipFill>
        <p:spPr>
          <a:xfrm>
            <a:off x="4695281" y="7192996"/>
            <a:ext cx="1977680" cy="2183806"/>
          </a:xfrm>
          <a:prstGeom prst="rect">
            <a:avLst/>
          </a:prstGeom>
        </p:spPr>
      </p:pic>
      <p:sp>
        <p:nvSpPr>
          <p:cNvPr id="29" name="Textfeld 28">
            <a:extLst>
              <a:ext uri="{FF2B5EF4-FFF2-40B4-BE49-F238E27FC236}">
                <a16:creationId xmlns:a16="http://schemas.microsoft.com/office/drawing/2014/main" id="{07F33DAD-545C-3D48-AC3B-FCF6A78D236B}"/>
              </a:ext>
            </a:extLst>
          </p:cNvPr>
          <p:cNvSpPr txBox="1"/>
          <p:nvPr/>
        </p:nvSpPr>
        <p:spPr>
          <a:xfrm>
            <a:off x="4695280" y="9381214"/>
            <a:ext cx="1977680" cy="449354"/>
          </a:xfrm>
          <a:prstGeom prst="rect">
            <a:avLst/>
          </a:prstGeom>
          <a:solidFill>
            <a:srgbClr val="FFFFFF"/>
          </a:solidFill>
        </p:spPr>
        <p:txBody>
          <a:bodyPr wrap="square">
            <a:spAutoFit/>
          </a:bodyPr>
          <a:lstStyle/>
          <a:p>
            <a:r>
              <a:rPr lang="en-US" sz="1160">
                <a:latin typeface="Sofia Sans" panose="020B0604020202020204" charset="0"/>
              </a:rPr>
              <a:t>Light bulbs: one LED and one yellow light bulb</a:t>
            </a:r>
          </a:p>
        </p:txBody>
      </p:sp>
      <p:sp>
        <p:nvSpPr>
          <p:cNvPr id="4" name="Titel 1">
            <a:extLst>
              <a:ext uri="{FF2B5EF4-FFF2-40B4-BE49-F238E27FC236}">
                <a16:creationId xmlns:a16="http://schemas.microsoft.com/office/drawing/2014/main" id="{0D0C7428-787A-C02B-FF41-162B9D31BD06}"/>
              </a:ext>
            </a:extLst>
          </p:cNvPr>
          <p:cNvSpPr>
            <a:spLocks noGrp="1"/>
          </p:cNvSpPr>
          <p:nvPr>
            <p:ph type="title"/>
          </p:nvPr>
        </p:nvSpPr>
        <p:spPr>
          <a:xfrm>
            <a:off x="595250" y="1121461"/>
            <a:ext cx="6369175" cy="1190474"/>
          </a:xfrm>
        </p:spPr>
        <p:txBody>
          <a:bodyPr/>
          <a:lstStyle/>
          <a:p>
            <a:r>
              <a:rPr lang="de-DE"/>
              <a:t>PV Kit </a:t>
            </a:r>
            <a:r>
              <a:rPr lang="de-DE" err="1"/>
              <a:t>Overview</a:t>
            </a:r>
            <a:endParaRPr lang="de-DE"/>
          </a:p>
        </p:txBody>
      </p:sp>
      <p:sp>
        <p:nvSpPr>
          <p:cNvPr id="8" name="Untertitel 3">
            <a:extLst>
              <a:ext uri="{FF2B5EF4-FFF2-40B4-BE49-F238E27FC236}">
                <a16:creationId xmlns:a16="http://schemas.microsoft.com/office/drawing/2014/main" id="{7D988F6A-CA40-2462-0081-D806C729CEEC}"/>
              </a:ext>
            </a:extLst>
          </p:cNvPr>
          <p:cNvSpPr txBox="1">
            <a:spLocks/>
          </p:cNvSpPr>
          <p:nvPr/>
        </p:nvSpPr>
        <p:spPr>
          <a:xfrm>
            <a:off x="719138" y="1776241"/>
            <a:ext cx="6321425" cy="5699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SzPts val="1800"/>
            </a:pPr>
            <a:r>
              <a:rPr lang="en-US" sz="1200" b="1">
                <a:solidFill>
                  <a:schemeClr val="accent4"/>
                </a:solidFill>
                <a:latin typeface="Epilogue"/>
                <a:sym typeface="Epilogue"/>
              </a:rPr>
              <a:t>Inside the PV Kit Box you will find the following materials: </a:t>
            </a:r>
          </a:p>
        </p:txBody>
      </p:sp>
    </p:spTree>
    <p:extLst>
      <p:ext uri="{BB962C8B-B14F-4D97-AF65-F5344CB8AC3E}">
        <p14:creationId xmlns:p14="http://schemas.microsoft.com/office/powerpoint/2010/main" val="25774628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8AD0A-3BD5-62D9-C3EC-E28D64DDB3F9}"/>
              </a:ext>
            </a:extLst>
          </p:cNvPr>
          <p:cNvGraphicFramePr>
            <a:graphicFrameLocks noChangeAspect="1"/>
          </p:cNvGraphicFramePr>
          <p:nvPr>
            <p:custDataLst>
              <p:tags r:id="rId1"/>
            </p:custDataLst>
            <p:extLst>
              <p:ext uri="{D42A27DB-BD31-4B8C-83A1-F6EECF244321}">
                <p14:modId xmlns:p14="http://schemas.microsoft.com/office/powerpoint/2010/main" val="2908436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5" name="think-cell data - do not delete" hidden="1">
                        <a:extLst>
                          <a:ext uri="{FF2B5EF4-FFF2-40B4-BE49-F238E27FC236}">
                            <a16:creationId xmlns:a16="http://schemas.microsoft.com/office/drawing/2014/main" id="{9058AD0A-3BD5-62D9-C3EC-E28D64DDB3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6C68E22C-F58F-764B-6280-F7D9845FDC7B}"/>
              </a:ext>
            </a:extLst>
          </p:cNvPr>
          <p:cNvSpPr>
            <a:spLocks noGrp="1"/>
          </p:cNvSpPr>
          <p:nvPr>
            <p:ph type="sldNum" sz="quarter" idx="4"/>
          </p:nvPr>
        </p:nvSpPr>
        <p:spPr/>
        <p:txBody>
          <a:bodyPr/>
          <a:lstStyle/>
          <a:p>
            <a:fld id="{DF7F771E-9578-4C04-B869-01AF4C35C90C}" type="slidenum">
              <a:rPr lang="de-DE" smtClean="0"/>
              <a:t>11</a:t>
            </a:fld>
            <a:endParaRPr lang="de-DE"/>
          </a:p>
        </p:txBody>
      </p:sp>
      <p:pic>
        <p:nvPicPr>
          <p:cNvPr id="28" name="Grafik 27">
            <a:extLst>
              <a:ext uri="{FF2B5EF4-FFF2-40B4-BE49-F238E27FC236}">
                <a16:creationId xmlns:a16="http://schemas.microsoft.com/office/drawing/2014/main" id="{005B0102-86BA-44A3-550E-A361B1F092FD}"/>
              </a:ext>
            </a:extLst>
          </p:cNvPr>
          <p:cNvPicPr>
            <a:picLocks noChangeAspect="1"/>
          </p:cNvPicPr>
          <p:nvPr/>
        </p:nvPicPr>
        <p:blipFill>
          <a:blip r:embed="rId5"/>
          <a:stretch>
            <a:fillRect/>
          </a:stretch>
        </p:blipFill>
        <p:spPr>
          <a:xfrm>
            <a:off x="3977058" y="5158851"/>
            <a:ext cx="2640996" cy="2884426"/>
          </a:xfrm>
          <a:prstGeom prst="rect">
            <a:avLst/>
          </a:prstGeom>
        </p:spPr>
      </p:pic>
      <p:sp>
        <p:nvSpPr>
          <p:cNvPr id="4" name="Textfeld 3">
            <a:extLst>
              <a:ext uri="{FF2B5EF4-FFF2-40B4-BE49-F238E27FC236}">
                <a16:creationId xmlns:a16="http://schemas.microsoft.com/office/drawing/2014/main" id="{F20F5E89-85C9-1A5E-1658-CC407F80DE54}"/>
              </a:ext>
            </a:extLst>
          </p:cNvPr>
          <p:cNvSpPr txBox="1"/>
          <p:nvPr/>
        </p:nvSpPr>
        <p:spPr>
          <a:xfrm>
            <a:off x="870948" y="7260786"/>
            <a:ext cx="2491740" cy="270843"/>
          </a:xfrm>
          <a:prstGeom prst="rect">
            <a:avLst/>
          </a:prstGeom>
          <a:solidFill>
            <a:srgbClr val="FFFFFF"/>
          </a:solidFill>
        </p:spPr>
        <p:txBody>
          <a:bodyPr wrap="square">
            <a:spAutoFit/>
          </a:bodyPr>
          <a:lstStyle/>
          <a:p>
            <a:r>
              <a:rPr lang="en-US" sz="1160">
                <a:latin typeface="Sofia Sans" panose="020B0604020202020204" charset="0"/>
              </a:rPr>
              <a:t>Connecting cables</a:t>
            </a:r>
          </a:p>
        </p:txBody>
      </p:sp>
      <p:pic>
        <p:nvPicPr>
          <p:cNvPr id="6" name="Grafik 5">
            <a:extLst>
              <a:ext uri="{FF2B5EF4-FFF2-40B4-BE49-F238E27FC236}">
                <a16:creationId xmlns:a16="http://schemas.microsoft.com/office/drawing/2014/main" id="{C4D3CF7C-5DC8-1A1D-05F4-B8593F8128EE}"/>
              </a:ext>
            </a:extLst>
          </p:cNvPr>
          <p:cNvPicPr>
            <a:picLocks noChangeAspect="1"/>
          </p:cNvPicPr>
          <p:nvPr/>
        </p:nvPicPr>
        <p:blipFill>
          <a:blip r:embed="rId6"/>
          <a:stretch>
            <a:fillRect/>
          </a:stretch>
        </p:blipFill>
        <p:spPr>
          <a:xfrm>
            <a:off x="870948" y="4179434"/>
            <a:ext cx="2640995" cy="2961646"/>
          </a:xfrm>
          <a:prstGeom prst="rect">
            <a:avLst/>
          </a:prstGeom>
        </p:spPr>
      </p:pic>
      <p:sp>
        <p:nvSpPr>
          <p:cNvPr id="7" name="Textfeld 6">
            <a:extLst>
              <a:ext uri="{FF2B5EF4-FFF2-40B4-BE49-F238E27FC236}">
                <a16:creationId xmlns:a16="http://schemas.microsoft.com/office/drawing/2014/main" id="{759F8F68-2E82-F793-1F60-1E5738BDD3CB}"/>
              </a:ext>
            </a:extLst>
          </p:cNvPr>
          <p:cNvSpPr txBox="1"/>
          <p:nvPr/>
        </p:nvSpPr>
        <p:spPr>
          <a:xfrm>
            <a:off x="3977058" y="8043277"/>
            <a:ext cx="2491740" cy="270843"/>
          </a:xfrm>
          <a:prstGeom prst="rect">
            <a:avLst/>
          </a:prstGeom>
          <a:solidFill>
            <a:srgbClr val="FFFFFF"/>
          </a:solidFill>
        </p:spPr>
        <p:txBody>
          <a:bodyPr wrap="square">
            <a:spAutoFit/>
          </a:bodyPr>
          <a:lstStyle/>
          <a:p>
            <a:r>
              <a:rPr lang="en-US" sz="1160">
                <a:latin typeface="Sofia Sans" panose="020B0604020202020204" charset="0"/>
              </a:rPr>
              <a:t>Potentiometer (variable resistances)</a:t>
            </a:r>
          </a:p>
        </p:txBody>
      </p:sp>
      <p:pic>
        <p:nvPicPr>
          <p:cNvPr id="8" name="Grafik 7">
            <a:extLst>
              <a:ext uri="{FF2B5EF4-FFF2-40B4-BE49-F238E27FC236}">
                <a16:creationId xmlns:a16="http://schemas.microsoft.com/office/drawing/2014/main" id="{64F94191-377D-0DEC-9958-606C7F15938A}"/>
              </a:ext>
            </a:extLst>
          </p:cNvPr>
          <p:cNvPicPr>
            <a:picLocks noChangeAspect="1"/>
          </p:cNvPicPr>
          <p:nvPr/>
        </p:nvPicPr>
        <p:blipFill>
          <a:blip r:embed="rId7"/>
          <a:stretch>
            <a:fillRect/>
          </a:stretch>
        </p:blipFill>
        <p:spPr>
          <a:xfrm>
            <a:off x="3977059" y="1361352"/>
            <a:ext cx="2640996" cy="3337378"/>
          </a:xfrm>
          <a:prstGeom prst="rect">
            <a:avLst/>
          </a:prstGeom>
        </p:spPr>
      </p:pic>
      <p:sp>
        <p:nvSpPr>
          <p:cNvPr id="9" name="Textfeld 8">
            <a:extLst>
              <a:ext uri="{FF2B5EF4-FFF2-40B4-BE49-F238E27FC236}">
                <a16:creationId xmlns:a16="http://schemas.microsoft.com/office/drawing/2014/main" id="{C7BDDA41-33F1-5179-2A8C-41A468A68621}"/>
              </a:ext>
            </a:extLst>
          </p:cNvPr>
          <p:cNvSpPr txBox="1"/>
          <p:nvPr/>
        </p:nvSpPr>
        <p:spPr>
          <a:xfrm>
            <a:off x="870948" y="3617947"/>
            <a:ext cx="2908889" cy="449354"/>
          </a:xfrm>
          <a:prstGeom prst="rect">
            <a:avLst/>
          </a:prstGeom>
          <a:solidFill>
            <a:srgbClr val="FFFFFF"/>
          </a:solidFill>
        </p:spPr>
        <p:txBody>
          <a:bodyPr wrap="square">
            <a:spAutoFit/>
          </a:bodyPr>
          <a:lstStyle/>
          <a:p>
            <a:r>
              <a:rPr lang="en-US" sz="1160">
                <a:latin typeface="Sofia Sans" panose="020B0604020202020204" charset="0"/>
              </a:rPr>
              <a:t>Light filters in different colors and pollution layer (brown)</a:t>
            </a:r>
          </a:p>
        </p:txBody>
      </p:sp>
      <p:sp>
        <p:nvSpPr>
          <p:cNvPr id="10" name="Textfeld 9">
            <a:extLst>
              <a:ext uri="{FF2B5EF4-FFF2-40B4-BE49-F238E27FC236}">
                <a16:creationId xmlns:a16="http://schemas.microsoft.com/office/drawing/2014/main" id="{590BBAF8-2A94-4567-8011-6256917FCEA0}"/>
              </a:ext>
            </a:extLst>
          </p:cNvPr>
          <p:cNvSpPr txBox="1"/>
          <p:nvPr/>
        </p:nvSpPr>
        <p:spPr>
          <a:xfrm>
            <a:off x="3977058" y="4762920"/>
            <a:ext cx="2491740" cy="270843"/>
          </a:xfrm>
          <a:prstGeom prst="rect">
            <a:avLst/>
          </a:prstGeom>
          <a:solidFill>
            <a:srgbClr val="FFFFFF"/>
          </a:solidFill>
        </p:spPr>
        <p:txBody>
          <a:bodyPr wrap="square">
            <a:spAutoFit/>
          </a:bodyPr>
          <a:lstStyle/>
          <a:p>
            <a:r>
              <a:rPr lang="en-US" sz="1160">
                <a:latin typeface="Sofia Sans" panose="020B0604020202020204" charset="0"/>
              </a:rPr>
              <a:t>Hair dryer</a:t>
            </a:r>
          </a:p>
        </p:txBody>
      </p:sp>
      <p:pic>
        <p:nvPicPr>
          <p:cNvPr id="22" name="Grafik 21">
            <a:extLst>
              <a:ext uri="{FF2B5EF4-FFF2-40B4-BE49-F238E27FC236}">
                <a16:creationId xmlns:a16="http://schemas.microsoft.com/office/drawing/2014/main" id="{3277AE00-7CF8-F0A1-DCEC-4BE11D6B551B}"/>
              </a:ext>
            </a:extLst>
          </p:cNvPr>
          <p:cNvPicPr>
            <a:picLocks noChangeAspect="1"/>
          </p:cNvPicPr>
          <p:nvPr/>
        </p:nvPicPr>
        <p:blipFill>
          <a:blip r:embed="rId8"/>
          <a:stretch>
            <a:fillRect/>
          </a:stretch>
        </p:blipFill>
        <p:spPr>
          <a:xfrm>
            <a:off x="870948" y="1361351"/>
            <a:ext cx="2663097" cy="2144463"/>
          </a:xfrm>
          <a:prstGeom prst="rect">
            <a:avLst/>
          </a:prstGeom>
        </p:spPr>
      </p:pic>
    </p:spTree>
    <p:extLst>
      <p:ext uri="{BB962C8B-B14F-4D97-AF65-F5344CB8AC3E}">
        <p14:creationId xmlns:p14="http://schemas.microsoft.com/office/powerpoint/2010/main" val="1028456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4DDB025-CF77-8FB2-D983-95379F7E3DA2}"/>
              </a:ext>
            </a:extLst>
          </p:cNvPr>
          <p:cNvSpPr>
            <a:spLocks noGrp="1"/>
          </p:cNvSpPr>
          <p:nvPr>
            <p:ph type="sldNum" sz="quarter" idx="10"/>
          </p:nvPr>
        </p:nvSpPr>
        <p:spPr/>
        <p:txBody>
          <a:bodyPr/>
          <a:lstStyle/>
          <a:p>
            <a:fld id="{DF7F771E-9578-4C04-B869-01AF4C35C90C}" type="slidenum">
              <a:rPr lang="de-DE" smtClean="0"/>
              <a:t>12</a:t>
            </a:fld>
            <a:endParaRPr lang="de-DE"/>
          </a:p>
        </p:txBody>
      </p:sp>
      <p:sp>
        <p:nvSpPr>
          <p:cNvPr id="8" name="Untertitel 3">
            <a:extLst>
              <a:ext uri="{FF2B5EF4-FFF2-40B4-BE49-F238E27FC236}">
                <a16:creationId xmlns:a16="http://schemas.microsoft.com/office/drawing/2014/main" id="{05F98F18-E122-0D7D-F115-4F947744DAF8}"/>
              </a:ext>
            </a:extLst>
          </p:cNvPr>
          <p:cNvSpPr txBox="1">
            <a:spLocks/>
          </p:cNvSpPr>
          <p:nvPr/>
        </p:nvSpPr>
        <p:spPr>
          <a:xfrm>
            <a:off x="747254" y="1678009"/>
            <a:ext cx="5944510" cy="73772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i="1"/>
              <a:t>Step 1: Assemble the Holder</a:t>
            </a:r>
          </a:p>
          <a:p>
            <a:pPr lvl="1" algn="l"/>
            <a:r>
              <a:rPr lang="en-US"/>
              <a:t>To begin using the kit, you first need to assemble the holder. Follow these steps:</a:t>
            </a:r>
          </a:p>
          <a:p>
            <a:pPr lvl="1" algn="l">
              <a:buFont typeface="+mj-lt"/>
              <a:buAutoNum type="arabicPeriod"/>
            </a:pPr>
            <a:r>
              <a:rPr lang="en-US"/>
              <a:t>Gather the Parts: Locate the bottom pieces (A), the middle strip (B), the piece for the PV panel (C), and the elements to move the position (D) of the PV panel. You will also need screws (2 long, 4 short).</a:t>
            </a:r>
          </a:p>
          <a:p>
            <a:pPr lvl="1" algn="l">
              <a:buFont typeface="+mj-lt"/>
              <a:buAutoNum type="arabicPeriod"/>
            </a:pPr>
            <a:r>
              <a:rPr lang="en-US"/>
              <a:t>Connect the Parts: Attach parts A, B, C, and D using the screws. Part C is the actual holder for the PV panel.</a:t>
            </a:r>
          </a:p>
          <a:p>
            <a:pPr>
              <a:buAutoNum type="arabicPeriod"/>
            </a:pPr>
            <a:endParaRPr lang="en-US"/>
          </a:p>
          <a:p>
            <a:r>
              <a:rPr lang="en-US"/>
              <a:t>There are two versions of the holder:</a:t>
            </a:r>
          </a:p>
          <a:p>
            <a:pPr lvl="1" algn="l"/>
            <a:r>
              <a:rPr lang="en-US"/>
              <a:t>-	Option 1: For the larger PV panel.</a:t>
            </a:r>
          </a:p>
          <a:p>
            <a:pPr lvl="1" algn="l">
              <a:buFontTx/>
              <a:buChar char="-"/>
            </a:pPr>
            <a:r>
              <a:rPr lang="en-US"/>
              <a:t>Option 2: For the smaller PV panels, which are soldered onto banana plugs. This configuration allows for easy connection of the small panels in series or parallel.</a:t>
            </a:r>
          </a:p>
          <a:p>
            <a:pPr>
              <a:buFontTx/>
              <a:buChar char="-"/>
            </a:pPr>
            <a:endParaRPr lang="en-US"/>
          </a:p>
          <a:p>
            <a:r>
              <a:rPr lang="en-US" b="1" i="1"/>
              <a:t>Step 2: Prepare the Light Source</a:t>
            </a:r>
          </a:p>
          <a:p>
            <a:pPr lvl="1" algn="l"/>
            <a:r>
              <a:rPr lang="en-US"/>
              <a:t>Before starting the experiments, prepare the light source:</a:t>
            </a:r>
          </a:p>
          <a:p>
            <a:pPr lvl="1" algn="l">
              <a:buFont typeface="Arial" panose="020B0604020202020204" pitchFamily="34" charset="0"/>
              <a:buChar char="•"/>
            </a:pPr>
            <a:r>
              <a:rPr lang="en-US"/>
              <a:t>Insert the yellow light bulb into its holder. For the experiment where the white light bulb is needed the white light bulb can be placed into its holder.</a:t>
            </a:r>
          </a:p>
          <a:p>
            <a:pPr>
              <a:buFont typeface="Arial" panose="020B0604020202020204" pitchFamily="34" charset="0"/>
              <a:buChar char="•"/>
            </a:pPr>
            <a:endParaRPr lang="en-US"/>
          </a:p>
          <a:p>
            <a:r>
              <a:rPr lang="en-US" b="1" i="1"/>
              <a:t>Step 3: Position the PV Panels</a:t>
            </a:r>
          </a:p>
          <a:p>
            <a:pPr lvl="1" algn="l">
              <a:buFont typeface="Arial" panose="020B0604020202020204" pitchFamily="34" charset="0"/>
              <a:buChar char="•"/>
            </a:pPr>
            <a:r>
              <a:rPr lang="en-US"/>
              <a:t>Place the PV panels onto the holder you assembled.</a:t>
            </a:r>
          </a:p>
          <a:p>
            <a:pPr>
              <a:buFont typeface="Arial" panose="020B0604020202020204" pitchFamily="34" charset="0"/>
              <a:buChar char="•"/>
            </a:pPr>
            <a:endParaRPr lang="en-US"/>
          </a:p>
          <a:p>
            <a:r>
              <a:rPr lang="en-US" b="1"/>
              <a:t>Step 4: Measure Voltage and Current</a:t>
            </a:r>
          </a:p>
          <a:p>
            <a:pPr lvl="1" algn="l">
              <a:buFont typeface="Arial" panose="020B0604020202020204" pitchFamily="34" charset="0"/>
              <a:buChar char="•"/>
            </a:pPr>
            <a:r>
              <a:rPr lang="en-US"/>
              <a:t>Connect the cables to the multimeter as described in the multimeter's instructions.</a:t>
            </a:r>
          </a:p>
          <a:p>
            <a:pPr lvl="1" algn="l">
              <a:buFont typeface="Arial" panose="020B0604020202020204" pitchFamily="34" charset="0"/>
              <a:buChar char="•"/>
            </a:pPr>
            <a:r>
              <a:rPr lang="en-US"/>
              <a:t>Use the crocodile clips to connect these cables to the PV panel.</a:t>
            </a:r>
          </a:p>
          <a:p>
            <a:endParaRPr lang="en-US"/>
          </a:p>
          <a:p>
            <a:r>
              <a:rPr lang="en-US" b="1"/>
              <a:t>You can find video instructions on how to measure the voltage and current of the PV panel on </a:t>
            </a:r>
            <a:r>
              <a:rPr lang="en-US" b="1" err="1"/>
              <a:t>moodle</a:t>
            </a:r>
            <a:r>
              <a:rPr lang="en-US" b="1"/>
              <a:t>. -&gt; Follow the instructions!</a:t>
            </a:r>
          </a:p>
          <a:p>
            <a:endParaRPr lang="en-US"/>
          </a:p>
          <a:p>
            <a:pPr>
              <a:buSzPts val="1800"/>
            </a:pPr>
            <a:r>
              <a:rPr lang="en-US" sz="1200" b="1">
                <a:solidFill>
                  <a:schemeClr val="accent4"/>
                </a:solidFill>
                <a:latin typeface="Epilogue"/>
                <a:sym typeface="Epilogue"/>
              </a:rPr>
              <a:t>Additional Materials for Experiments</a:t>
            </a:r>
          </a:p>
          <a:p>
            <a:endParaRPr lang="en-US"/>
          </a:p>
          <a:p>
            <a:r>
              <a:rPr lang="en-US"/>
              <a:t>The kit also includes additional materials necessary for specific experiments:</a:t>
            </a:r>
          </a:p>
          <a:p>
            <a:pPr>
              <a:buFont typeface="Arial" panose="020B0604020202020204" pitchFamily="34" charset="0"/>
              <a:buChar char="•"/>
            </a:pPr>
            <a:r>
              <a:rPr lang="en-US"/>
              <a:t>Light filter: Needed for experiments where the color of light is evaluated.</a:t>
            </a:r>
          </a:p>
          <a:p>
            <a:pPr>
              <a:buFont typeface="Arial" panose="020B0604020202020204" pitchFamily="34" charset="0"/>
              <a:buChar char="•"/>
            </a:pPr>
            <a:r>
              <a:rPr lang="en-US"/>
              <a:t>Connecting Cables: Multiple connecting cables with banana plugs are required for experiments where you connect the panels in series or parallel.</a:t>
            </a:r>
          </a:p>
          <a:p>
            <a:pPr>
              <a:buFont typeface="Arial" panose="020B0604020202020204" pitchFamily="34" charset="0"/>
              <a:buChar char="•"/>
            </a:pPr>
            <a:r>
              <a:rPr lang="en-US"/>
              <a:t>Potentiometer: To change the resistance.</a:t>
            </a:r>
          </a:p>
          <a:p>
            <a:pPr>
              <a:buFont typeface="Arial" panose="020B0604020202020204" pitchFamily="34" charset="0"/>
              <a:buChar char="•"/>
            </a:pPr>
            <a:r>
              <a:rPr lang="en-US"/>
              <a:t>Hair dryer: To heat up the PV panel.</a:t>
            </a:r>
          </a:p>
          <a:p>
            <a:endParaRPr lang="en-US" b="1"/>
          </a:p>
        </p:txBody>
      </p:sp>
      <p:sp>
        <p:nvSpPr>
          <p:cNvPr id="9" name="Untertitel 5">
            <a:extLst>
              <a:ext uri="{FF2B5EF4-FFF2-40B4-BE49-F238E27FC236}">
                <a16:creationId xmlns:a16="http://schemas.microsoft.com/office/drawing/2014/main" id="{D712E653-136F-EE3B-F658-434E39B965AF}"/>
              </a:ext>
            </a:extLst>
          </p:cNvPr>
          <p:cNvSpPr txBox="1">
            <a:spLocks/>
          </p:cNvSpPr>
          <p:nvPr/>
        </p:nvSpPr>
        <p:spPr>
          <a:xfrm>
            <a:off x="741559" y="1288363"/>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4"/>
                </a:solidFill>
              </a:rPr>
              <a:t>How to Start Using the PV Panel Kit</a:t>
            </a:r>
            <a:endParaRPr lang="de-DE" sz="1200">
              <a:solidFill>
                <a:schemeClr val="accent4"/>
              </a:solidFill>
            </a:endParaRPr>
          </a:p>
        </p:txBody>
      </p:sp>
    </p:spTree>
    <p:extLst>
      <p:ext uri="{BB962C8B-B14F-4D97-AF65-F5344CB8AC3E}">
        <p14:creationId xmlns:p14="http://schemas.microsoft.com/office/powerpoint/2010/main" val="36455104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sp>
        <p:nvSpPr>
          <p:cNvPr id="304" name="Google Shape;304;p24"/>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sz="1488"/>
          </a:p>
        </p:txBody>
      </p:sp>
      <p:cxnSp>
        <p:nvCxnSpPr>
          <p:cNvPr id="305" name="Google Shape;305;p24"/>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326" name="Google Shape;326;p24"/>
          <p:cNvSpPr txBox="1">
            <a:spLocks noGrp="1"/>
          </p:cNvSpPr>
          <p:nvPr>
            <p:ph type="ctrTitle"/>
          </p:nvPr>
        </p:nvSpPr>
        <p:spPr>
          <a:xfrm>
            <a:off x="2753754" y="4161783"/>
            <a:ext cx="4216106" cy="1870573"/>
          </a:xfrm>
          <a:prstGeom prst="rect">
            <a:avLst/>
          </a:prstGeom>
        </p:spPr>
        <p:txBody>
          <a:bodyPr spcFirstLastPara="1" wrap="square" lIns="75584" tIns="75584" rIns="75584" bIns="75584" anchor="b" anchorCtr="0">
            <a:noAutofit/>
          </a:bodyPr>
          <a:lstStyle/>
          <a:p>
            <a:r>
              <a:rPr lang="en"/>
              <a:t>PV Education HUB</a:t>
            </a:r>
            <a:endParaRPr lang="it-IT"/>
          </a:p>
          <a:p>
            <a:r>
              <a:rPr lang="en" b="0"/>
              <a:t>Chapter 1</a:t>
            </a:r>
            <a:endParaRPr b="0"/>
          </a:p>
        </p:txBody>
      </p:sp>
      <p:sp>
        <p:nvSpPr>
          <p:cNvPr id="327" name="Google Shape;327;p24"/>
          <p:cNvSpPr txBox="1">
            <a:spLocks noGrp="1"/>
          </p:cNvSpPr>
          <p:nvPr>
            <p:ph type="subTitle" idx="1"/>
          </p:nvPr>
        </p:nvSpPr>
        <p:spPr>
          <a:xfrm>
            <a:off x="2753754" y="5992363"/>
            <a:ext cx="4216106" cy="549115"/>
          </a:xfrm>
          <a:prstGeom prst="rect">
            <a:avLst/>
          </a:prstGeom>
          <a:solidFill>
            <a:srgbClr val="F0E3D8"/>
          </a:solidFill>
          <a:ln>
            <a:noFill/>
          </a:ln>
        </p:spPr>
        <p:txBody>
          <a:bodyPr spcFirstLastPara="1" wrap="square" lIns="75584" tIns="75584" rIns="75584" bIns="75584" anchor="ctr" anchorCtr="0">
            <a:noAutofit/>
          </a:bodyPr>
          <a:lstStyle/>
          <a:p>
            <a:pPr marL="0" indent="0"/>
            <a:r>
              <a:rPr lang="en" sz="2800" b="1"/>
              <a:t>PV Basics</a:t>
            </a:r>
          </a:p>
        </p:txBody>
      </p:sp>
      <p:sp>
        <p:nvSpPr>
          <p:cNvPr id="4" name="Rechteck 3">
            <a:extLst>
              <a:ext uri="{FF2B5EF4-FFF2-40B4-BE49-F238E27FC236}">
                <a16:creationId xmlns:a16="http://schemas.microsoft.com/office/drawing/2014/main" id="{FE70CA0E-25A9-C2AD-AE39-2001A076167F}"/>
              </a:ext>
            </a:extLst>
          </p:cNvPr>
          <p:cNvSpPr/>
          <p:nvPr/>
        </p:nvSpPr>
        <p:spPr>
          <a:xfrm>
            <a:off x="630317" y="4706337"/>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Gleichschenkliges Dreieck 6">
            <a:extLst>
              <a:ext uri="{FF2B5EF4-FFF2-40B4-BE49-F238E27FC236}">
                <a16:creationId xmlns:a16="http://schemas.microsoft.com/office/drawing/2014/main" id="{3BD4C45A-9326-0D67-F95B-A3B0F062B903}"/>
              </a:ext>
            </a:extLst>
          </p:cNvPr>
          <p:cNvSpPr/>
          <p:nvPr/>
        </p:nvSpPr>
        <p:spPr>
          <a:xfrm rot="17825069">
            <a:off x="384063" y="4458117"/>
            <a:ext cx="845457" cy="727963"/>
          </a:xfrm>
          <a:prstGeom prst="triangl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descr="Ein Bild, das Text, Grafiken, Logo, Screenshot enthält.&#10;&#10;Automatisch generierte Beschreibung">
            <a:extLst>
              <a:ext uri="{FF2B5EF4-FFF2-40B4-BE49-F238E27FC236}">
                <a16:creationId xmlns:a16="http://schemas.microsoft.com/office/drawing/2014/main" id="{7FA0AF6A-4443-7347-6EF3-130C006574DB}"/>
              </a:ext>
            </a:extLst>
          </p:cNvPr>
          <p:cNvPicPr>
            <a:picLocks noChangeAspect="1"/>
          </p:cNvPicPr>
          <p:nvPr/>
        </p:nvPicPr>
        <p:blipFill rotWithShape="1">
          <a:blip r:embed="rId3"/>
          <a:srcRect l="27910" t="51063" r="50875" b="27502"/>
          <a:stretch/>
        </p:blipFill>
        <p:spPr>
          <a:xfrm>
            <a:off x="762883" y="4736714"/>
            <a:ext cx="1669323" cy="1650923"/>
          </a:xfrm>
          <a:prstGeom prst="ellipse">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26900DB9-ED99-E2E2-04B6-E1B0CDCDAA93}"/>
              </a:ext>
            </a:extLst>
          </p:cNvPr>
          <p:cNvSpPr>
            <a:spLocks noGrp="1"/>
          </p:cNvSpPr>
          <p:nvPr>
            <p:ph type="sldNum" sz="quarter" idx="10"/>
          </p:nvPr>
        </p:nvSpPr>
        <p:spPr/>
        <p:txBody>
          <a:bodyPr/>
          <a:lstStyle/>
          <a:p>
            <a:fld id="{DF7F771E-9578-4C04-B869-01AF4C35C90C}" type="slidenum">
              <a:rPr lang="de-DE" smtClean="0"/>
              <a:t>14</a:t>
            </a:fld>
            <a:endParaRPr lang="de-DE"/>
          </a:p>
        </p:txBody>
      </p:sp>
      <p:sp>
        <p:nvSpPr>
          <p:cNvPr id="8" name="Titel 1">
            <a:extLst>
              <a:ext uri="{FF2B5EF4-FFF2-40B4-BE49-F238E27FC236}">
                <a16:creationId xmlns:a16="http://schemas.microsoft.com/office/drawing/2014/main" id="{EAE65E17-24BD-9146-7605-4AD45B45C364}"/>
              </a:ext>
            </a:extLst>
          </p:cNvPr>
          <p:cNvSpPr>
            <a:spLocks noGrp="1"/>
          </p:cNvSpPr>
          <p:nvPr>
            <p:ph type="title"/>
          </p:nvPr>
        </p:nvSpPr>
        <p:spPr>
          <a:xfrm>
            <a:off x="595250" y="1121461"/>
            <a:ext cx="6369175" cy="519708"/>
          </a:xfrm>
        </p:spPr>
        <p:txBody>
          <a:bodyPr/>
          <a:lstStyle/>
          <a:p>
            <a:r>
              <a:rPr lang="de-DE"/>
              <a:t>Basics</a:t>
            </a:r>
          </a:p>
        </p:txBody>
      </p:sp>
      <p:sp>
        <p:nvSpPr>
          <p:cNvPr id="9" name="Untertitel 3">
            <a:extLst>
              <a:ext uri="{FF2B5EF4-FFF2-40B4-BE49-F238E27FC236}">
                <a16:creationId xmlns:a16="http://schemas.microsoft.com/office/drawing/2014/main" id="{B6B497AA-972B-9F4E-E175-1E7500A7D45E}"/>
              </a:ext>
            </a:extLst>
          </p:cNvPr>
          <p:cNvSpPr txBox="1">
            <a:spLocks/>
          </p:cNvSpPr>
          <p:nvPr/>
        </p:nvSpPr>
        <p:spPr>
          <a:xfrm>
            <a:off x="719137" y="2326497"/>
            <a:ext cx="5470221" cy="185582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de-DE"/>
              <a:t>In </a:t>
            </a:r>
            <a:r>
              <a:rPr lang="de-DE" err="1"/>
              <a:t>this</a:t>
            </a:r>
            <a:r>
              <a:rPr lang="de-DE"/>
              <a:t> </a:t>
            </a:r>
            <a:r>
              <a:rPr lang="de-DE" err="1"/>
              <a:t>chapter</a:t>
            </a:r>
            <a:r>
              <a:rPr lang="de-DE"/>
              <a:t>, </a:t>
            </a:r>
            <a:r>
              <a:rPr lang="de-DE" err="1"/>
              <a:t>we</a:t>
            </a:r>
            <a:r>
              <a:rPr lang="de-DE"/>
              <a:t> will find out </a:t>
            </a:r>
            <a:r>
              <a:rPr lang="de-DE" err="1"/>
              <a:t>how</a:t>
            </a:r>
            <a:r>
              <a:rPr lang="de-DE"/>
              <a:t> </a:t>
            </a:r>
            <a:r>
              <a:rPr lang="de-DE" err="1"/>
              <a:t>the</a:t>
            </a:r>
            <a:r>
              <a:rPr lang="de-DE"/>
              <a:t> </a:t>
            </a:r>
            <a:r>
              <a:rPr lang="de-DE" err="1"/>
              <a:t>following</a:t>
            </a:r>
            <a:r>
              <a:rPr lang="de-DE"/>
              <a:t> external </a:t>
            </a:r>
            <a:r>
              <a:rPr lang="de-DE" err="1"/>
              <a:t>factors</a:t>
            </a:r>
            <a:r>
              <a:rPr lang="de-DE"/>
              <a:t>:</a:t>
            </a:r>
          </a:p>
          <a:p>
            <a:pPr>
              <a:buFont typeface="Arial" panose="020B0604020202020204" pitchFamily="34" charset="0"/>
              <a:buChar char="•"/>
            </a:pPr>
            <a:r>
              <a:rPr lang="de-DE"/>
              <a:t>Yellow/</a:t>
            </a:r>
            <a:r>
              <a:rPr lang="de-DE" err="1"/>
              <a:t>white</a:t>
            </a:r>
            <a:r>
              <a:rPr lang="de-DE"/>
              <a:t> light</a:t>
            </a:r>
          </a:p>
          <a:p>
            <a:pPr>
              <a:buFont typeface="Arial" panose="020B0604020202020204" pitchFamily="34" charset="0"/>
              <a:buChar char="•"/>
            </a:pPr>
            <a:r>
              <a:rPr lang="de-DE"/>
              <a:t>Angle </a:t>
            </a:r>
            <a:r>
              <a:rPr lang="de-DE" err="1"/>
              <a:t>of</a:t>
            </a:r>
            <a:r>
              <a:rPr lang="de-DE"/>
              <a:t> </a:t>
            </a:r>
            <a:r>
              <a:rPr lang="de-DE" err="1"/>
              <a:t>incidence</a:t>
            </a:r>
            <a:endParaRPr lang="de-DE"/>
          </a:p>
          <a:p>
            <a:pPr>
              <a:buFont typeface="Arial" panose="020B0604020202020204" pitchFamily="34" charset="0"/>
              <a:buChar char="•"/>
            </a:pPr>
            <a:r>
              <a:rPr lang="de-DE"/>
              <a:t>Light </a:t>
            </a:r>
            <a:r>
              <a:rPr lang="de-DE" err="1"/>
              <a:t>intensity</a:t>
            </a:r>
            <a:endParaRPr lang="de-DE"/>
          </a:p>
          <a:p>
            <a:pPr>
              <a:buFont typeface="Arial" panose="020B0604020202020204" pitchFamily="34" charset="0"/>
              <a:buChar char="•"/>
            </a:pPr>
            <a:r>
              <a:rPr lang="de-DE"/>
              <a:t>Heat </a:t>
            </a:r>
          </a:p>
          <a:p>
            <a:pPr>
              <a:buFont typeface="Arial" panose="020B0604020202020204" pitchFamily="34" charset="0"/>
              <a:buChar char="•"/>
            </a:pPr>
            <a:r>
              <a:rPr lang="de-DE"/>
              <a:t>Pollution</a:t>
            </a:r>
          </a:p>
          <a:p>
            <a:pPr>
              <a:buFont typeface="Arial" panose="020B0604020202020204" pitchFamily="34" charset="0"/>
              <a:buChar char="•"/>
            </a:pPr>
            <a:r>
              <a:rPr lang="de-DE"/>
              <a:t>Shade</a:t>
            </a:r>
          </a:p>
          <a:p>
            <a:pPr marL="139700" indent="0"/>
            <a:r>
              <a:rPr lang="de-DE" err="1"/>
              <a:t>influence</a:t>
            </a:r>
            <a:r>
              <a:rPr lang="de-DE"/>
              <a:t> a Photovoltaik (PV) </a:t>
            </a:r>
            <a:r>
              <a:rPr lang="de-DE" err="1"/>
              <a:t>system</a:t>
            </a:r>
            <a:r>
              <a:rPr lang="de-DE"/>
              <a:t>.</a:t>
            </a:r>
          </a:p>
        </p:txBody>
      </p:sp>
      <p:sp>
        <p:nvSpPr>
          <p:cNvPr id="10" name="Titel 1">
            <a:extLst>
              <a:ext uri="{FF2B5EF4-FFF2-40B4-BE49-F238E27FC236}">
                <a16:creationId xmlns:a16="http://schemas.microsoft.com/office/drawing/2014/main" id="{524DDB5D-2C36-2D8F-EE1D-A2D0A61EFFA9}"/>
              </a:ext>
            </a:extLst>
          </p:cNvPr>
          <p:cNvSpPr txBox="1">
            <a:spLocks/>
          </p:cNvSpPr>
          <p:nvPr/>
        </p:nvSpPr>
        <p:spPr>
          <a:xfrm>
            <a:off x="595249" y="1641170"/>
            <a:ext cx="6369175" cy="59523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de-DE" sz="2400" b="0"/>
              <a:t>External </a:t>
            </a:r>
            <a:r>
              <a:rPr lang="de-DE" sz="2400" b="0" err="1"/>
              <a:t>factors</a:t>
            </a:r>
            <a:r>
              <a:rPr lang="de-DE" sz="2400" b="0"/>
              <a:t> </a:t>
            </a:r>
            <a:r>
              <a:rPr lang="de-DE" sz="2400" b="0" err="1"/>
              <a:t>influencing</a:t>
            </a:r>
            <a:r>
              <a:rPr lang="de-DE" sz="2400" b="0"/>
              <a:t> PV </a:t>
            </a:r>
            <a:r>
              <a:rPr lang="de-DE" sz="2400" b="0" err="1"/>
              <a:t>systems</a:t>
            </a:r>
            <a:endParaRPr lang="de-DE" sz="2400" b="0"/>
          </a:p>
        </p:txBody>
      </p:sp>
      <p:sp>
        <p:nvSpPr>
          <p:cNvPr id="2" name="Untertitel 3">
            <a:extLst>
              <a:ext uri="{FF2B5EF4-FFF2-40B4-BE49-F238E27FC236}">
                <a16:creationId xmlns:a16="http://schemas.microsoft.com/office/drawing/2014/main" id="{BF4A43F6-3684-F5A5-85F1-EEDC996D624E}"/>
              </a:ext>
            </a:extLst>
          </p:cNvPr>
          <p:cNvSpPr txBox="1">
            <a:spLocks/>
          </p:cNvSpPr>
          <p:nvPr/>
        </p:nvSpPr>
        <p:spPr>
          <a:xfrm>
            <a:off x="724833" y="4814694"/>
            <a:ext cx="5944510" cy="290583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At the end of this chapter, you will:</a:t>
            </a:r>
          </a:p>
          <a:p>
            <a:pPr>
              <a:buFont typeface="+mj-lt"/>
              <a:buAutoNum type="arabicPeriod"/>
            </a:pPr>
            <a:r>
              <a:rPr lang="en-US"/>
              <a:t>Gain a comprehensive understanding of photovoltaic (PV) systems, including the fundamental principles of how they convert sunlight into electricity.</a:t>
            </a:r>
          </a:p>
          <a:p>
            <a:pPr>
              <a:buFont typeface="+mj-lt"/>
              <a:buAutoNum type="arabicPeriod"/>
            </a:pPr>
            <a:r>
              <a:rPr lang="en-US"/>
              <a:t>Understand the key factors that influence the performance of PV systems, such as light quality, angle of incidence, light intensity, temperature, pollution, and shading.</a:t>
            </a:r>
          </a:p>
          <a:p>
            <a:pPr>
              <a:buFont typeface="+mj-lt"/>
              <a:buAutoNum type="arabicPeriod"/>
            </a:pPr>
            <a:r>
              <a:rPr lang="en-US"/>
              <a:t>Evaluate and analyze different environmental conditions to determine their impact on the efficiency and output of PV systems.</a:t>
            </a:r>
          </a:p>
          <a:p>
            <a:pPr>
              <a:buFont typeface="+mj-lt"/>
              <a:buAutoNum type="arabicPeriod"/>
            </a:pPr>
            <a:r>
              <a:rPr lang="en-US"/>
              <a:t>Identify the optimal location and orientation for installing PV panels to maximize energy production, taking into account site-specific conditions.</a:t>
            </a:r>
          </a:p>
          <a:p>
            <a:pPr>
              <a:buFont typeface="+mj-lt"/>
              <a:buAutoNum type="arabicPeriod"/>
            </a:pPr>
            <a:r>
              <a:rPr lang="en-US"/>
              <a:t>Apply theoretical knowledge in practical scenarios, enabling you to set up and configure PV modules effectively in real-world situations.</a:t>
            </a:r>
          </a:p>
          <a:p>
            <a:pPr marL="139700" indent="0"/>
            <a:r>
              <a:rPr lang="en-US"/>
              <a:t>By the end of this chapter, you will be equipped with the skills to optimize PV system performance and make informed decisions about PV panel installation.</a:t>
            </a:r>
          </a:p>
        </p:txBody>
      </p:sp>
      <p:sp>
        <p:nvSpPr>
          <p:cNvPr id="3" name="Untertitel 5">
            <a:extLst>
              <a:ext uri="{FF2B5EF4-FFF2-40B4-BE49-F238E27FC236}">
                <a16:creationId xmlns:a16="http://schemas.microsoft.com/office/drawing/2014/main" id="{F6F5A270-E5B3-1C34-7F0A-AEC95FE0FDDA}"/>
              </a:ext>
            </a:extLst>
          </p:cNvPr>
          <p:cNvSpPr txBox="1">
            <a:spLocks/>
          </p:cNvSpPr>
          <p:nvPr/>
        </p:nvSpPr>
        <p:spPr>
          <a:xfrm>
            <a:off x="719138" y="442504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Learning </a:t>
            </a:r>
            <a:r>
              <a:rPr lang="de-DE" sz="1200" err="1">
                <a:solidFill>
                  <a:schemeClr val="accent5"/>
                </a:solidFill>
              </a:rPr>
              <a:t>Objective</a:t>
            </a:r>
            <a:endParaRPr lang="de-DE" sz="1200">
              <a:solidFill>
                <a:schemeClr val="accent5"/>
              </a:solidFill>
            </a:endParaRPr>
          </a:p>
        </p:txBody>
      </p:sp>
    </p:spTree>
    <p:extLst>
      <p:ext uri="{BB962C8B-B14F-4D97-AF65-F5344CB8AC3E}">
        <p14:creationId xmlns:p14="http://schemas.microsoft.com/office/powerpoint/2010/main" val="24570939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28E5657-5B9A-C82E-8F95-FBC198D85A16}"/>
              </a:ext>
            </a:extLst>
          </p:cNvPr>
          <p:cNvSpPr>
            <a:spLocks noGrp="1"/>
          </p:cNvSpPr>
          <p:nvPr>
            <p:ph type="sldNum" sz="quarter" idx="4"/>
          </p:nvPr>
        </p:nvSpPr>
        <p:spPr/>
        <p:txBody>
          <a:bodyPr/>
          <a:lstStyle/>
          <a:p>
            <a:fld id="{DF7F771E-9578-4C04-B869-01AF4C35C90C}" type="slidenum">
              <a:rPr lang="de-DE" smtClean="0"/>
              <a:t>15</a:t>
            </a:fld>
            <a:endParaRPr lang="de-DE"/>
          </a:p>
        </p:txBody>
      </p:sp>
      <p:sp>
        <p:nvSpPr>
          <p:cNvPr id="4" name="Rechteck 3">
            <a:extLst>
              <a:ext uri="{FF2B5EF4-FFF2-40B4-BE49-F238E27FC236}">
                <a16:creationId xmlns:a16="http://schemas.microsoft.com/office/drawing/2014/main" id="{64A44557-AB00-F115-3C0D-2107158C70A6}"/>
              </a:ext>
            </a:extLst>
          </p:cNvPr>
          <p:cNvSpPr/>
          <p:nvPr/>
        </p:nvSpPr>
        <p:spPr>
          <a:xfrm>
            <a:off x="719137" y="1623718"/>
            <a:ext cx="5740172" cy="3108079"/>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Untertitel 2">
            <a:extLst>
              <a:ext uri="{FF2B5EF4-FFF2-40B4-BE49-F238E27FC236}">
                <a16:creationId xmlns:a16="http://schemas.microsoft.com/office/drawing/2014/main" id="{ECDEE424-BE2B-1456-9F88-2245D1D833B2}"/>
              </a:ext>
            </a:extLst>
          </p:cNvPr>
          <p:cNvSpPr txBox="1">
            <a:spLocks/>
          </p:cNvSpPr>
          <p:nvPr/>
        </p:nvSpPr>
        <p:spPr>
          <a:xfrm>
            <a:off x="1099381" y="2327806"/>
            <a:ext cx="4979684" cy="20293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PV module  (e.g. minimum 1 big: 5 V, 2.5 W and minimum 2 small: 5 V, 0.3 W)</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LED Lamp  (e.g. 230 V, 35 W)</a:t>
            </a:r>
          </a:p>
          <a:p>
            <a:pPr>
              <a:buClrTx/>
              <a:buFont typeface="Arial" panose="020B0604020202020204" pitchFamily="34" charset="0"/>
              <a:buChar char="•"/>
            </a:pPr>
            <a:r>
              <a:rPr lang="en-US" sz="1150"/>
              <a:t>Yellow light bulb </a:t>
            </a:r>
          </a:p>
          <a:p>
            <a:pPr>
              <a:buClrTx/>
              <a:buFont typeface="Arial" panose="020B0604020202020204" pitchFamily="34" charset="0"/>
              <a:buChar char="•"/>
            </a:pPr>
            <a:r>
              <a:rPr lang="en-US" sz="1150"/>
              <a:t>Colored light filters</a:t>
            </a:r>
          </a:p>
          <a:p>
            <a:pPr>
              <a:buClrTx/>
              <a:buFont typeface="Arial" panose="020B0604020202020204" pitchFamily="34" charset="0"/>
              <a:buChar char="•"/>
            </a:pPr>
            <a:r>
              <a:rPr lang="en-US" sz="1150"/>
              <a:t>PV module holder</a:t>
            </a:r>
          </a:p>
          <a:p>
            <a:pPr>
              <a:buClrTx/>
              <a:buFont typeface="Arial" panose="020B0604020202020204" pitchFamily="34" charset="0"/>
              <a:buChar char="•"/>
            </a:pPr>
            <a:r>
              <a:rPr lang="en-US" sz="1150"/>
              <a:t>Meter rule </a:t>
            </a:r>
          </a:p>
          <a:p>
            <a:pPr>
              <a:buClrTx/>
              <a:buFont typeface="Arial" panose="020B0604020202020204" pitchFamily="34" charset="0"/>
              <a:buChar char="•"/>
            </a:pPr>
            <a:r>
              <a:rPr lang="en-US" sz="1150"/>
              <a:t>Hair dryer</a:t>
            </a:r>
          </a:p>
          <a:p>
            <a:pPr>
              <a:buClrTx/>
              <a:buFont typeface="Arial" panose="020B0604020202020204" pitchFamily="34" charset="0"/>
              <a:buChar char="•"/>
            </a:pPr>
            <a:r>
              <a:rPr lang="en-US" sz="1150"/>
              <a:t>Various cables </a:t>
            </a:r>
          </a:p>
        </p:txBody>
      </p:sp>
      <p:sp>
        <p:nvSpPr>
          <p:cNvPr id="6" name="Untertitel 5">
            <a:extLst>
              <a:ext uri="{FF2B5EF4-FFF2-40B4-BE49-F238E27FC236}">
                <a16:creationId xmlns:a16="http://schemas.microsoft.com/office/drawing/2014/main" id="{C68E3AA5-6DFF-97A1-7F85-8131D3282723}"/>
              </a:ext>
            </a:extLst>
          </p:cNvPr>
          <p:cNvSpPr txBox="1">
            <a:spLocks/>
          </p:cNvSpPr>
          <p:nvPr/>
        </p:nvSpPr>
        <p:spPr>
          <a:xfrm>
            <a:off x="881288" y="1766442"/>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sp>
        <p:nvSpPr>
          <p:cNvPr id="7" name="Ellipse 6">
            <a:extLst>
              <a:ext uri="{FF2B5EF4-FFF2-40B4-BE49-F238E27FC236}">
                <a16:creationId xmlns:a16="http://schemas.microsoft.com/office/drawing/2014/main" id="{FA562BE1-91E2-2C30-E3C5-F9261551661D}"/>
              </a:ext>
            </a:extLst>
          </p:cNvPr>
          <p:cNvSpPr>
            <a:spLocks noChangeAspect="1"/>
          </p:cNvSpPr>
          <p:nvPr/>
        </p:nvSpPr>
        <p:spPr>
          <a:xfrm>
            <a:off x="6128977" y="1282847"/>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descr="Inventar mit einfarbiger Füllung">
            <a:extLst>
              <a:ext uri="{FF2B5EF4-FFF2-40B4-BE49-F238E27FC236}">
                <a16:creationId xmlns:a16="http://schemas.microsoft.com/office/drawing/2014/main" id="{237E4AF2-4A87-064D-D550-110BD24F2C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30449" y="1384319"/>
            <a:ext cx="457200" cy="457200"/>
          </a:xfrm>
          <a:prstGeom prst="rect">
            <a:avLst/>
          </a:prstGeom>
        </p:spPr>
      </p:pic>
    </p:spTree>
    <p:extLst>
      <p:ext uri="{BB962C8B-B14F-4D97-AF65-F5344CB8AC3E}">
        <p14:creationId xmlns:p14="http://schemas.microsoft.com/office/powerpoint/2010/main" val="40614450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de-DE" smtClean="0"/>
              <a:t>16</a:t>
            </a:fld>
            <a:endParaRPr lang="de-DE"/>
          </a:p>
        </p:txBody>
      </p:sp>
      <p:sp>
        <p:nvSpPr>
          <p:cNvPr id="4" name="Titel 1">
            <a:extLst>
              <a:ext uri="{FF2B5EF4-FFF2-40B4-BE49-F238E27FC236}">
                <a16:creationId xmlns:a16="http://schemas.microsoft.com/office/drawing/2014/main" id="{9FED2E82-8B4E-CED3-E7CC-13BEEA6B927D}"/>
              </a:ext>
            </a:extLst>
          </p:cNvPr>
          <p:cNvSpPr>
            <a:spLocks noGrp="1"/>
          </p:cNvSpPr>
          <p:nvPr>
            <p:ph type="title"/>
          </p:nvPr>
        </p:nvSpPr>
        <p:spPr>
          <a:xfrm>
            <a:off x="589649" y="1121461"/>
            <a:ext cx="6380336" cy="1190474"/>
          </a:xfrm>
        </p:spPr>
        <p:txBody>
          <a:bodyPr/>
          <a:lstStyle/>
          <a:p>
            <a:r>
              <a:rPr lang="de-DE"/>
              <a:t>1. Light </a:t>
            </a:r>
            <a:r>
              <a:rPr lang="de-DE" err="1"/>
              <a:t>colour</a:t>
            </a:r>
            <a:endParaRPr lang="de-DE"/>
          </a:p>
        </p:txBody>
      </p:sp>
      <p:sp>
        <p:nvSpPr>
          <p:cNvPr id="5" name="Untertitel 5">
            <a:extLst>
              <a:ext uri="{FF2B5EF4-FFF2-40B4-BE49-F238E27FC236}">
                <a16:creationId xmlns:a16="http://schemas.microsoft.com/office/drawing/2014/main" id="{E6634E1F-ED4E-EBC3-8C25-332130472F39}"/>
              </a:ext>
            </a:extLst>
          </p:cNvPr>
          <p:cNvSpPr txBox="1">
            <a:spLocks/>
          </p:cNvSpPr>
          <p:nvPr/>
        </p:nvSpPr>
        <p:spPr>
          <a:xfrm>
            <a:off x="1104692" y="269477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6" name="Untertitel 3">
            <a:extLst>
              <a:ext uri="{FF2B5EF4-FFF2-40B4-BE49-F238E27FC236}">
                <a16:creationId xmlns:a16="http://schemas.microsoft.com/office/drawing/2014/main" id="{60826006-F73F-8F4D-B400-0565C4DD04A9}"/>
              </a:ext>
            </a:extLst>
          </p:cNvPr>
          <p:cNvSpPr txBox="1">
            <a:spLocks/>
          </p:cNvSpPr>
          <p:nvPr/>
        </p:nvSpPr>
        <p:spPr>
          <a:xfrm>
            <a:off x="719137" y="1944537"/>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In this chapter you will find out how different light colors (wavelengths) affect the performance of a photovoltaic (PV) cell. </a:t>
            </a:r>
            <a:endParaRPr lang="de-DE" dirty="0"/>
          </a:p>
        </p:txBody>
      </p:sp>
      <p:sp>
        <p:nvSpPr>
          <p:cNvPr id="7" name="Untertitel 3">
            <a:extLst>
              <a:ext uri="{FF2B5EF4-FFF2-40B4-BE49-F238E27FC236}">
                <a16:creationId xmlns:a16="http://schemas.microsoft.com/office/drawing/2014/main" id="{2E9A378D-8DB5-F059-10CF-019382FA312B}"/>
              </a:ext>
            </a:extLst>
          </p:cNvPr>
          <p:cNvSpPr txBox="1">
            <a:spLocks/>
          </p:cNvSpPr>
          <p:nvPr/>
        </p:nvSpPr>
        <p:spPr>
          <a:xfrm>
            <a:off x="744799" y="5737594"/>
            <a:ext cx="5713537" cy="184433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a:t>Follow these steps to conduct the experiment:</a:t>
            </a:r>
          </a:p>
          <a:p>
            <a:pPr>
              <a:buFont typeface="+mj-lt"/>
              <a:buAutoNum type="arabicPeriod"/>
            </a:pPr>
            <a:r>
              <a:rPr lang="en-US"/>
              <a:t>Place the PV cell in a fixed position.</a:t>
            </a:r>
          </a:p>
          <a:p>
            <a:pPr>
              <a:buFont typeface="+mj-lt"/>
              <a:buAutoNum type="arabicPeriod"/>
            </a:pPr>
            <a:r>
              <a:rPr lang="en-US"/>
              <a:t>Set up the first light source (Yellow light), so that it directly illuminates the PV cell.</a:t>
            </a:r>
          </a:p>
          <a:p>
            <a:pPr>
              <a:buFont typeface="+mj-lt"/>
              <a:buAutoNum type="arabicPeriod"/>
            </a:pPr>
            <a:r>
              <a:rPr lang="en-US"/>
              <a:t>Measure the open-circuit voltage (U) and the short-circuit current (I) with the Multimeter and record the values.</a:t>
            </a:r>
          </a:p>
          <a:p>
            <a:pPr>
              <a:buFont typeface="+mj-lt"/>
              <a:buAutoNum type="arabicPeriod"/>
            </a:pPr>
            <a:r>
              <a:rPr lang="en-US"/>
              <a:t>Repeat the process with the white light source.</a:t>
            </a:r>
          </a:p>
        </p:txBody>
      </p:sp>
      <p:sp>
        <p:nvSpPr>
          <p:cNvPr id="8" name="Ellipse 7">
            <a:extLst>
              <a:ext uri="{FF2B5EF4-FFF2-40B4-BE49-F238E27FC236}">
                <a16:creationId xmlns:a16="http://schemas.microsoft.com/office/drawing/2014/main" id="{F309E364-4510-6EA0-B942-89FF1547896D}"/>
              </a:ext>
            </a:extLst>
          </p:cNvPr>
          <p:cNvSpPr>
            <a:spLocks noChangeAspect="1"/>
          </p:cNvSpPr>
          <p:nvPr/>
        </p:nvSpPr>
        <p:spPr>
          <a:xfrm>
            <a:off x="730528" y="266528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descr="Lupe mit einfarbiger Füllung">
            <a:extLst>
              <a:ext uri="{FF2B5EF4-FFF2-40B4-BE49-F238E27FC236}">
                <a16:creationId xmlns:a16="http://schemas.microsoft.com/office/drawing/2014/main" id="{26E19198-3DC9-0B46-7676-34A8E0CE74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601" y="2728961"/>
            <a:ext cx="333865" cy="333865"/>
          </a:xfrm>
          <a:prstGeom prst="rect">
            <a:avLst/>
          </a:prstGeom>
        </p:spPr>
      </p:pic>
      <p:sp>
        <p:nvSpPr>
          <p:cNvPr id="2" name="Rechteck 1">
            <a:extLst>
              <a:ext uri="{FF2B5EF4-FFF2-40B4-BE49-F238E27FC236}">
                <a16:creationId xmlns:a16="http://schemas.microsoft.com/office/drawing/2014/main" id="{B656ED22-78A0-2442-3CD3-71A68A3C607B}"/>
              </a:ext>
            </a:extLst>
          </p:cNvPr>
          <p:cNvSpPr/>
          <p:nvPr/>
        </p:nvSpPr>
        <p:spPr>
          <a:xfrm>
            <a:off x="718165" y="3554804"/>
            <a:ext cx="5740172" cy="1844331"/>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Untertitel 2">
            <a:extLst>
              <a:ext uri="{FF2B5EF4-FFF2-40B4-BE49-F238E27FC236}">
                <a16:creationId xmlns:a16="http://schemas.microsoft.com/office/drawing/2014/main" id="{4C36CB4A-0A89-8C59-EF84-A4BAD32432B1}"/>
              </a:ext>
            </a:extLst>
          </p:cNvPr>
          <p:cNvSpPr txBox="1">
            <a:spLocks/>
          </p:cNvSpPr>
          <p:nvPr/>
        </p:nvSpPr>
        <p:spPr>
          <a:xfrm>
            <a:off x="1098409" y="4258890"/>
            <a:ext cx="4979684" cy="100091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Two Lamps, LED and yellow light bulb</a:t>
            </a:r>
          </a:p>
          <a:p>
            <a:pPr>
              <a:buClrTx/>
              <a:buFont typeface="Arial" panose="020B0604020202020204" pitchFamily="34" charset="0"/>
              <a:buChar char="•"/>
            </a:pPr>
            <a:r>
              <a:rPr lang="en-US" sz="1150"/>
              <a:t>PV modules (small or big) </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Holder for PV panels</a:t>
            </a:r>
          </a:p>
          <a:p>
            <a:pPr>
              <a:buFont typeface="Arial" panose="020B0604020202020204" pitchFamily="34" charset="0"/>
              <a:buChar char="•"/>
            </a:pPr>
            <a:endParaRPr lang="en-US" sz="1150"/>
          </a:p>
        </p:txBody>
      </p:sp>
      <p:sp>
        <p:nvSpPr>
          <p:cNvPr id="12" name="Untertitel 5">
            <a:extLst>
              <a:ext uri="{FF2B5EF4-FFF2-40B4-BE49-F238E27FC236}">
                <a16:creationId xmlns:a16="http://schemas.microsoft.com/office/drawing/2014/main" id="{1E8E0409-91F7-EDA4-B95A-191E2E2F83CF}"/>
              </a:ext>
            </a:extLst>
          </p:cNvPr>
          <p:cNvSpPr txBox="1">
            <a:spLocks/>
          </p:cNvSpPr>
          <p:nvPr/>
        </p:nvSpPr>
        <p:spPr>
          <a:xfrm>
            <a:off x="880316" y="3697527"/>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15" name="Gruppieren 14">
            <a:extLst>
              <a:ext uri="{FF2B5EF4-FFF2-40B4-BE49-F238E27FC236}">
                <a16:creationId xmlns:a16="http://schemas.microsoft.com/office/drawing/2014/main" id="{D1685114-4777-D7BD-2583-34E54F985D1F}"/>
              </a:ext>
            </a:extLst>
          </p:cNvPr>
          <p:cNvGrpSpPr/>
          <p:nvPr/>
        </p:nvGrpSpPr>
        <p:grpSpPr>
          <a:xfrm>
            <a:off x="6261172" y="3330155"/>
            <a:ext cx="402475" cy="419630"/>
            <a:chOff x="6140368" y="3097011"/>
            <a:chExt cx="660145" cy="660145"/>
          </a:xfrm>
        </p:grpSpPr>
        <p:sp>
          <p:nvSpPr>
            <p:cNvPr id="13" name="Ellipse 12">
              <a:extLst>
                <a:ext uri="{FF2B5EF4-FFF2-40B4-BE49-F238E27FC236}">
                  <a16:creationId xmlns:a16="http://schemas.microsoft.com/office/drawing/2014/main" id="{53B0A394-7E20-8D6F-9862-E5A816289AB2}"/>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descr="Inventar mit einfarbiger Füllung">
              <a:extLst>
                <a:ext uri="{FF2B5EF4-FFF2-40B4-BE49-F238E27FC236}">
                  <a16:creationId xmlns:a16="http://schemas.microsoft.com/office/drawing/2014/main" id="{0CC8D900-EEAF-FBB9-A8AD-F0C589F7F0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pic>
        <p:nvPicPr>
          <p:cNvPr id="9" name="Picture 8" descr="A light bulb with wires and measuring tape&#10;&#10;Description automatically generated">
            <a:extLst>
              <a:ext uri="{FF2B5EF4-FFF2-40B4-BE49-F238E27FC236}">
                <a16:creationId xmlns:a16="http://schemas.microsoft.com/office/drawing/2014/main" id="{AB434D2C-7945-AA2E-60CB-8056CF248791}"/>
              </a:ext>
            </a:extLst>
          </p:cNvPr>
          <p:cNvPicPr>
            <a:picLocks noChangeAspect="1"/>
          </p:cNvPicPr>
          <p:nvPr/>
        </p:nvPicPr>
        <p:blipFill rotWithShape="1">
          <a:blip r:embed="rId6"/>
          <a:srcRect t="5608" r="9859"/>
          <a:stretch/>
        </p:blipFill>
        <p:spPr>
          <a:xfrm rot="5400000">
            <a:off x="2401355" y="7662953"/>
            <a:ext cx="2756923" cy="2165198"/>
          </a:xfrm>
          <a:prstGeom prst="rect">
            <a:avLst/>
          </a:prstGeom>
        </p:spPr>
      </p:pic>
    </p:spTree>
    <p:extLst>
      <p:ext uri="{BB962C8B-B14F-4D97-AF65-F5344CB8AC3E}">
        <p14:creationId xmlns:p14="http://schemas.microsoft.com/office/powerpoint/2010/main" val="16019663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5E33D864-7E1C-A54B-60B9-5558C6489660}"/>
              </a:ext>
            </a:extLst>
          </p:cNvPr>
          <p:cNvSpPr>
            <a:spLocks noGrp="1"/>
          </p:cNvSpPr>
          <p:nvPr>
            <p:ph type="sldNum" sz="quarter" idx="16"/>
          </p:nvPr>
        </p:nvSpPr>
        <p:spPr/>
        <p:txBody>
          <a:bodyPr/>
          <a:lstStyle/>
          <a:p>
            <a:fld id="{DF7F771E-9578-4C04-B869-01AF4C35C90C}" type="slidenum">
              <a:rPr lang="de-DE" smtClean="0"/>
              <a:t>17</a:t>
            </a:fld>
            <a:endParaRPr lang="de-DE"/>
          </a:p>
        </p:txBody>
      </p:sp>
      <p:sp>
        <p:nvSpPr>
          <p:cNvPr id="16" name="Untertitel 5">
            <a:extLst>
              <a:ext uri="{FF2B5EF4-FFF2-40B4-BE49-F238E27FC236}">
                <a16:creationId xmlns:a16="http://schemas.microsoft.com/office/drawing/2014/main" id="{199E0B50-9F7F-F96F-E336-46BBF4B60D23}"/>
              </a:ext>
            </a:extLst>
          </p:cNvPr>
          <p:cNvSpPr txBox="1">
            <a:spLocks/>
          </p:cNvSpPr>
          <p:nvPr/>
        </p:nvSpPr>
        <p:spPr>
          <a:xfrm>
            <a:off x="1136420" y="2741777"/>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7" name="Untertitel 3">
            <a:extLst>
              <a:ext uri="{FF2B5EF4-FFF2-40B4-BE49-F238E27FC236}">
                <a16:creationId xmlns:a16="http://schemas.microsoft.com/office/drawing/2014/main" id="{D00145F0-047B-5168-5750-7B5C0CEC3D7C}"/>
              </a:ext>
            </a:extLst>
          </p:cNvPr>
          <p:cNvSpPr txBox="1">
            <a:spLocks/>
          </p:cNvSpPr>
          <p:nvPr/>
        </p:nvSpPr>
        <p:spPr>
          <a:xfrm>
            <a:off x="705592" y="3736030"/>
            <a:ext cx="5944510"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a:t>Which light source is less effective? Think about why and discuss with your neighbors. </a:t>
            </a:r>
          </a:p>
        </p:txBody>
      </p:sp>
      <p:grpSp>
        <p:nvGrpSpPr>
          <p:cNvPr id="18" name="Gruppieren 17">
            <a:extLst>
              <a:ext uri="{FF2B5EF4-FFF2-40B4-BE49-F238E27FC236}">
                <a16:creationId xmlns:a16="http://schemas.microsoft.com/office/drawing/2014/main" id="{2897E809-DC07-A44E-0CFC-4297BE8B695C}"/>
              </a:ext>
            </a:extLst>
          </p:cNvPr>
          <p:cNvGrpSpPr/>
          <p:nvPr/>
        </p:nvGrpSpPr>
        <p:grpSpPr>
          <a:xfrm>
            <a:off x="1391505" y="5325390"/>
            <a:ext cx="4776663" cy="2707370"/>
            <a:chOff x="812192" y="7781377"/>
            <a:chExt cx="3688715" cy="1957705"/>
          </a:xfrm>
        </p:grpSpPr>
        <p:pic>
          <p:nvPicPr>
            <p:cNvPr id="19" name="Grafik 18">
              <a:extLst>
                <a:ext uri="{FF2B5EF4-FFF2-40B4-BE49-F238E27FC236}">
                  <a16:creationId xmlns:a16="http://schemas.microsoft.com/office/drawing/2014/main" id="{18338BA1-52B4-EFB9-B4DC-61ABC830D3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2192" y="7781377"/>
              <a:ext cx="3688715" cy="1957705"/>
            </a:xfrm>
            <a:prstGeom prst="rect">
              <a:avLst/>
            </a:prstGeom>
          </p:spPr>
        </p:pic>
        <p:sp>
          <p:nvSpPr>
            <p:cNvPr id="20" name="Rechteck 19">
              <a:extLst>
                <a:ext uri="{FF2B5EF4-FFF2-40B4-BE49-F238E27FC236}">
                  <a16:creationId xmlns:a16="http://schemas.microsoft.com/office/drawing/2014/main" id="{2D72F050-E9F3-87D9-7688-90354F955101}"/>
                </a:ext>
              </a:extLst>
            </p:cNvPr>
            <p:cNvSpPr/>
            <p:nvPr/>
          </p:nvSpPr>
          <p:spPr>
            <a:xfrm>
              <a:off x="2139064" y="8944712"/>
              <a:ext cx="877330" cy="351303"/>
            </a:xfrm>
            <a:prstGeom prst="rect">
              <a:avLst/>
            </a:prstGeom>
            <a:solidFill>
              <a:srgbClr val="FFFFFF"/>
            </a:solidFill>
            <a:ln w="12700">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solidFill>
                    <a:srgbClr val="FF0000"/>
                  </a:solidFill>
                  <a:latin typeface="Sofia Sans" panose="020B0604020202020204" charset="0"/>
                </a:rPr>
                <a:t>White Light (LED)</a:t>
              </a:r>
            </a:p>
          </p:txBody>
        </p:sp>
        <p:sp>
          <p:nvSpPr>
            <p:cNvPr id="21" name="Rechteck 20">
              <a:extLst>
                <a:ext uri="{FF2B5EF4-FFF2-40B4-BE49-F238E27FC236}">
                  <a16:creationId xmlns:a16="http://schemas.microsoft.com/office/drawing/2014/main" id="{6D895664-02A2-F08E-F246-5D570E20B5B9}"/>
                </a:ext>
              </a:extLst>
            </p:cNvPr>
            <p:cNvSpPr/>
            <p:nvPr/>
          </p:nvSpPr>
          <p:spPr>
            <a:xfrm>
              <a:off x="3251367" y="8217800"/>
              <a:ext cx="1050130" cy="267729"/>
            </a:xfrm>
            <a:prstGeom prst="rect">
              <a:avLst/>
            </a:prstGeom>
            <a:solidFill>
              <a:srgbClr val="FFFFFF"/>
            </a:solidFill>
            <a:ln w="12700">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solidFill>
                    <a:srgbClr val="FF0000"/>
                  </a:solidFill>
                  <a:latin typeface="Sofia Sans" panose="020B0604020202020204" charset="0"/>
                </a:rPr>
                <a:t>Yellow Light</a:t>
              </a:r>
            </a:p>
          </p:txBody>
        </p:sp>
      </p:grpSp>
      <p:sp>
        <p:nvSpPr>
          <p:cNvPr id="22" name="Ellipse 21">
            <a:extLst>
              <a:ext uri="{FF2B5EF4-FFF2-40B4-BE49-F238E27FC236}">
                <a16:creationId xmlns:a16="http://schemas.microsoft.com/office/drawing/2014/main" id="{96E973D9-4FF2-3C37-53F3-DB060F73443B}"/>
              </a:ext>
            </a:extLst>
          </p:cNvPr>
          <p:cNvSpPr>
            <a:spLocks noChangeAspect="1"/>
          </p:cNvSpPr>
          <p:nvPr/>
        </p:nvSpPr>
        <p:spPr>
          <a:xfrm>
            <a:off x="717779" y="273584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Grafik 22" descr="Skizze mit einfarbiger Füllung">
            <a:extLst>
              <a:ext uri="{FF2B5EF4-FFF2-40B4-BE49-F238E27FC236}">
                <a16:creationId xmlns:a16="http://schemas.microsoft.com/office/drawing/2014/main" id="{B2A5CED1-C385-808F-0E79-4862C1041A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2256" y="2799573"/>
            <a:ext cx="379044" cy="379044"/>
          </a:xfrm>
          <a:prstGeom prst="rect">
            <a:avLst/>
          </a:prstGeom>
        </p:spPr>
      </p:pic>
      <p:sp>
        <p:nvSpPr>
          <p:cNvPr id="24" name="Untertitel 5">
            <a:extLst>
              <a:ext uri="{FF2B5EF4-FFF2-40B4-BE49-F238E27FC236}">
                <a16:creationId xmlns:a16="http://schemas.microsoft.com/office/drawing/2014/main" id="{E5D70CBA-1432-C775-2CB1-CBB62F20F8B2}"/>
              </a:ext>
            </a:extLst>
          </p:cNvPr>
          <p:cNvSpPr txBox="1">
            <a:spLocks/>
          </p:cNvSpPr>
          <p:nvPr/>
        </p:nvSpPr>
        <p:spPr>
          <a:xfrm>
            <a:off x="699897" y="334638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1</a:t>
            </a:r>
          </a:p>
        </p:txBody>
      </p:sp>
      <p:sp>
        <p:nvSpPr>
          <p:cNvPr id="25" name="Untertitel 3">
            <a:extLst>
              <a:ext uri="{FF2B5EF4-FFF2-40B4-BE49-F238E27FC236}">
                <a16:creationId xmlns:a16="http://schemas.microsoft.com/office/drawing/2014/main" id="{879FCDF8-479F-4330-9579-78460806DFA3}"/>
              </a:ext>
            </a:extLst>
          </p:cNvPr>
          <p:cNvSpPr txBox="1">
            <a:spLocks/>
          </p:cNvSpPr>
          <p:nvPr/>
        </p:nvSpPr>
        <p:spPr>
          <a:xfrm>
            <a:off x="703339" y="4530710"/>
            <a:ext cx="5944510"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Which curve is white light? Which one is the curve for yellow light? Fill in the boxes accordingly.</a:t>
            </a:r>
          </a:p>
        </p:txBody>
      </p:sp>
      <p:sp>
        <p:nvSpPr>
          <p:cNvPr id="26" name="Untertitel 5">
            <a:extLst>
              <a:ext uri="{FF2B5EF4-FFF2-40B4-BE49-F238E27FC236}">
                <a16:creationId xmlns:a16="http://schemas.microsoft.com/office/drawing/2014/main" id="{248D5624-53B1-D59B-B1DD-FECD9BF92BAF}"/>
              </a:ext>
            </a:extLst>
          </p:cNvPr>
          <p:cNvSpPr txBox="1">
            <a:spLocks/>
          </p:cNvSpPr>
          <p:nvPr/>
        </p:nvSpPr>
        <p:spPr>
          <a:xfrm>
            <a:off x="697644" y="414106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2</a:t>
            </a:r>
          </a:p>
        </p:txBody>
      </p:sp>
      <p:graphicFrame>
        <p:nvGraphicFramePr>
          <p:cNvPr id="3" name="Google Shape;630;p38">
            <a:extLst>
              <a:ext uri="{FF2B5EF4-FFF2-40B4-BE49-F238E27FC236}">
                <a16:creationId xmlns:a16="http://schemas.microsoft.com/office/drawing/2014/main" id="{D2A6B70E-8292-F973-5FDD-541A925E9AB7}"/>
              </a:ext>
            </a:extLst>
          </p:cNvPr>
          <p:cNvGraphicFramePr/>
          <p:nvPr>
            <p:extLst>
              <p:ext uri="{D42A27DB-BD31-4B8C-83A1-F6EECF244321}">
                <p14:modId xmlns:p14="http://schemas.microsoft.com/office/powerpoint/2010/main" val="3666778471"/>
              </p:ext>
            </p:extLst>
          </p:nvPr>
        </p:nvGraphicFramePr>
        <p:xfrm>
          <a:off x="737584" y="1279848"/>
          <a:ext cx="5919009" cy="1035346"/>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Light Source</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Open-Circuit </a:t>
                      </a:r>
                      <a:r>
                        <a:rPr lang="de-DE" sz="1000" b="1" err="1">
                          <a:solidFill>
                            <a:schemeClr val="dk1"/>
                          </a:solidFill>
                          <a:latin typeface="Epilogue"/>
                          <a:ea typeface="Epilogue"/>
                          <a:cs typeface="Epilogue"/>
                          <a:sym typeface="Epilogue"/>
                        </a:rPr>
                        <a:t>Voltage</a:t>
                      </a:r>
                      <a:r>
                        <a:rPr lang="de-DE" sz="1000" b="1">
                          <a:solidFill>
                            <a:schemeClr val="dk1"/>
                          </a:solidFill>
                          <a:latin typeface="Epilogue"/>
                          <a:ea typeface="Epilogue"/>
                          <a:cs typeface="Epilogue"/>
                          <a:sym typeface="Epilogue"/>
                        </a:rPr>
                        <a:t> (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Short-Circuit </a:t>
                      </a:r>
                      <a:r>
                        <a:rPr lang="de-DE" sz="1000" b="1" err="1">
                          <a:solidFill>
                            <a:schemeClr val="dk1"/>
                          </a:solidFill>
                          <a:latin typeface="Epilogue"/>
                          <a:ea typeface="Epilogue"/>
                          <a:cs typeface="Epilogue"/>
                          <a:sym typeface="Epilogue"/>
                        </a:rPr>
                        <a:t>Current</a:t>
                      </a:r>
                      <a:r>
                        <a:rPr lang="de-DE" sz="1000" b="1">
                          <a:solidFill>
                            <a:schemeClr val="dk1"/>
                          </a:solidFill>
                          <a:latin typeface="Epilogue"/>
                          <a:ea typeface="Epilogue"/>
                          <a:cs typeface="Epilogue"/>
                          <a:sym typeface="Epilogue"/>
                        </a:rPr>
                        <a:t> (I) </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Yellow Light</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White Light</a:t>
                      </a: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206015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61FC4D4D-A852-3684-AEF3-B33B3F8311BC}"/>
              </a:ext>
            </a:extLst>
          </p:cNvPr>
          <p:cNvSpPr/>
          <p:nvPr/>
        </p:nvSpPr>
        <p:spPr>
          <a:xfrm>
            <a:off x="723803" y="6201225"/>
            <a:ext cx="5740172" cy="3181820"/>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oliennummernplatzhalter 6">
            <a:extLst>
              <a:ext uri="{FF2B5EF4-FFF2-40B4-BE49-F238E27FC236}">
                <a16:creationId xmlns:a16="http://schemas.microsoft.com/office/drawing/2014/main" id="{9CA144AC-D3D4-E708-3AA3-62478F40EBA0}"/>
              </a:ext>
            </a:extLst>
          </p:cNvPr>
          <p:cNvSpPr>
            <a:spLocks noGrp="1"/>
          </p:cNvSpPr>
          <p:nvPr>
            <p:ph type="sldNum" sz="quarter" idx="10"/>
          </p:nvPr>
        </p:nvSpPr>
        <p:spPr/>
        <p:txBody>
          <a:bodyPr/>
          <a:lstStyle/>
          <a:p>
            <a:fld id="{DF7F771E-9578-4C04-B869-01AF4C35C90C}" type="slidenum">
              <a:rPr lang="de-DE" smtClean="0"/>
              <a:t>18</a:t>
            </a:fld>
            <a:endParaRPr lang="de-DE"/>
          </a:p>
        </p:txBody>
      </p:sp>
      <p:sp>
        <p:nvSpPr>
          <p:cNvPr id="3" name="Ellipse 2">
            <a:extLst>
              <a:ext uri="{FF2B5EF4-FFF2-40B4-BE49-F238E27FC236}">
                <a16:creationId xmlns:a16="http://schemas.microsoft.com/office/drawing/2014/main" id="{855A30B5-31EC-CF54-E7E3-4E2BE1B24C7A}"/>
              </a:ext>
            </a:extLst>
          </p:cNvPr>
          <p:cNvSpPr>
            <a:spLocks noChangeAspect="1"/>
          </p:cNvSpPr>
          <p:nvPr/>
        </p:nvSpPr>
        <p:spPr>
          <a:xfrm>
            <a:off x="6133643" y="5882516"/>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descr="Lesezeichen mit einfarbiger Füllung">
            <a:extLst>
              <a:ext uri="{FF2B5EF4-FFF2-40B4-BE49-F238E27FC236}">
                <a16:creationId xmlns:a16="http://schemas.microsoft.com/office/drawing/2014/main" id="{65CEF2F0-0EE8-EB62-7168-208D0FD3E6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61490" y="6010363"/>
            <a:ext cx="404450" cy="404450"/>
          </a:xfrm>
          <a:prstGeom prst="rect">
            <a:avLst/>
          </a:prstGeom>
        </p:spPr>
      </p:pic>
      <p:sp>
        <p:nvSpPr>
          <p:cNvPr id="5" name="Untertitel 5">
            <a:extLst>
              <a:ext uri="{FF2B5EF4-FFF2-40B4-BE49-F238E27FC236}">
                <a16:creationId xmlns:a16="http://schemas.microsoft.com/office/drawing/2014/main" id="{86D9B208-016D-11B1-A5B7-841961C1B3AD}"/>
              </a:ext>
            </a:extLst>
          </p:cNvPr>
          <p:cNvSpPr txBox="1">
            <a:spLocks/>
          </p:cNvSpPr>
          <p:nvPr/>
        </p:nvSpPr>
        <p:spPr>
          <a:xfrm>
            <a:off x="898829" y="6300851"/>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6" name="Untertitel 2">
            <a:extLst>
              <a:ext uri="{FF2B5EF4-FFF2-40B4-BE49-F238E27FC236}">
                <a16:creationId xmlns:a16="http://schemas.microsoft.com/office/drawing/2014/main" id="{EECBEFEB-9C0E-5927-15A7-351A5C54385E}"/>
              </a:ext>
            </a:extLst>
          </p:cNvPr>
          <p:cNvSpPr>
            <a:spLocks noGrp="1"/>
          </p:cNvSpPr>
          <p:nvPr>
            <p:ph type="subTitle" idx="1"/>
          </p:nvPr>
        </p:nvSpPr>
        <p:spPr>
          <a:xfrm>
            <a:off x="892648" y="6794279"/>
            <a:ext cx="5195684" cy="2235280"/>
          </a:xfrm>
        </p:spPr>
        <p:txBody>
          <a:bodyPr/>
          <a:lstStyle/>
          <a:p>
            <a:r>
              <a:rPr lang="en-US"/>
              <a:t>•	PV cells perform differently under various light colors due to the specific energy each color carries.</a:t>
            </a:r>
          </a:p>
          <a:p>
            <a:r>
              <a:rPr lang="en-US"/>
              <a:t>•	</a:t>
            </a:r>
            <a:r>
              <a:rPr lang="en-US" b="1" i="1"/>
              <a:t>Yellow light </a:t>
            </a:r>
            <a:r>
              <a:rPr lang="en-US"/>
              <a:t>is generally more effective for PV cells because it falls within the optimal energy range for conversion to electricity.</a:t>
            </a:r>
          </a:p>
          <a:p>
            <a:r>
              <a:rPr lang="en-US"/>
              <a:t>•	</a:t>
            </a:r>
            <a:r>
              <a:rPr lang="en-US" b="1" i="1"/>
              <a:t>White light</a:t>
            </a:r>
            <a:r>
              <a:rPr lang="en-US"/>
              <a:t>, containing a mix of all colors, is less efficient because not all the spectral components are ideal for energy conversion in PV cells. High-energy blue and violet lights are not effectively used, and lower energy red and infrared might not be absorbed as well.</a:t>
            </a:r>
          </a:p>
          <a:p>
            <a:endParaRPr lang="en-US"/>
          </a:p>
          <a:p>
            <a:r>
              <a:rPr lang="en-US"/>
              <a:t>Understanding how different colors of light affect PV cells helps us use these cells better to generate electricity from the sun! </a:t>
            </a:r>
          </a:p>
        </p:txBody>
      </p:sp>
      <p:sp>
        <p:nvSpPr>
          <p:cNvPr id="4" name="Untertitel 3">
            <a:extLst>
              <a:ext uri="{FF2B5EF4-FFF2-40B4-BE49-F238E27FC236}">
                <a16:creationId xmlns:a16="http://schemas.microsoft.com/office/drawing/2014/main" id="{C43DCCDE-9DCA-83B6-FAB4-0D376DEE0A70}"/>
              </a:ext>
            </a:extLst>
          </p:cNvPr>
          <p:cNvSpPr txBox="1">
            <a:spLocks/>
          </p:cNvSpPr>
          <p:nvPr/>
        </p:nvSpPr>
        <p:spPr>
          <a:xfrm>
            <a:off x="747254" y="1678009"/>
            <a:ext cx="5944510" cy="6220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a:t>Do the statements refer to white or yellow light? Tick the boxes accordingly.</a:t>
            </a:r>
          </a:p>
        </p:txBody>
      </p:sp>
      <p:sp>
        <p:nvSpPr>
          <p:cNvPr id="8" name="Untertitel 5">
            <a:extLst>
              <a:ext uri="{FF2B5EF4-FFF2-40B4-BE49-F238E27FC236}">
                <a16:creationId xmlns:a16="http://schemas.microsoft.com/office/drawing/2014/main" id="{800568DA-A525-48A1-4499-2E9058C94D51}"/>
              </a:ext>
            </a:extLst>
          </p:cNvPr>
          <p:cNvSpPr txBox="1">
            <a:spLocks/>
          </p:cNvSpPr>
          <p:nvPr/>
        </p:nvSpPr>
        <p:spPr>
          <a:xfrm>
            <a:off x="741559" y="1288363"/>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3</a:t>
            </a:r>
          </a:p>
        </p:txBody>
      </p:sp>
      <p:sp>
        <p:nvSpPr>
          <p:cNvPr id="9" name="Rechteck 8">
            <a:extLst>
              <a:ext uri="{FF2B5EF4-FFF2-40B4-BE49-F238E27FC236}">
                <a16:creationId xmlns:a16="http://schemas.microsoft.com/office/drawing/2014/main" id="{BC8B8C54-D494-C204-C59D-7E6B71D74970}"/>
              </a:ext>
            </a:extLst>
          </p:cNvPr>
          <p:cNvSpPr>
            <a:spLocks noChangeAspect="1"/>
          </p:cNvSpPr>
          <p:nvPr/>
        </p:nvSpPr>
        <p:spPr>
          <a:xfrm>
            <a:off x="938775" y="3164202"/>
            <a:ext cx="216000" cy="216000"/>
          </a:xfrm>
          <a:prstGeom prst="rect">
            <a:avLst/>
          </a:prstGeom>
          <a:solidFill>
            <a:srgbClr val="FFFFFF"/>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89AB8EE0-A6AB-2463-2683-59BEFB05C999}"/>
              </a:ext>
            </a:extLst>
          </p:cNvPr>
          <p:cNvSpPr>
            <a:spLocks noChangeAspect="1"/>
          </p:cNvSpPr>
          <p:nvPr/>
        </p:nvSpPr>
        <p:spPr>
          <a:xfrm>
            <a:off x="3213402" y="3164202"/>
            <a:ext cx="216000" cy="216000"/>
          </a:xfrm>
          <a:prstGeom prst="rect">
            <a:avLst/>
          </a:prstGeom>
          <a:solidFill>
            <a:srgbClr val="FFFFFF"/>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8846816E-4226-99EC-1183-462C40F86F66}"/>
              </a:ext>
            </a:extLst>
          </p:cNvPr>
          <p:cNvSpPr>
            <a:spLocks noChangeAspect="1"/>
          </p:cNvSpPr>
          <p:nvPr/>
        </p:nvSpPr>
        <p:spPr>
          <a:xfrm>
            <a:off x="937260" y="4605798"/>
            <a:ext cx="216000" cy="216000"/>
          </a:xfrm>
          <a:prstGeom prst="rect">
            <a:avLst/>
          </a:prstGeom>
          <a:solidFill>
            <a:srgbClr val="FFFFFF"/>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DB52FCF-B5C9-1284-35E2-EF2A52AA4158}"/>
              </a:ext>
            </a:extLst>
          </p:cNvPr>
          <p:cNvSpPr>
            <a:spLocks noChangeAspect="1"/>
          </p:cNvSpPr>
          <p:nvPr/>
        </p:nvSpPr>
        <p:spPr>
          <a:xfrm>
            <a:off x="3211887" y="4605798"/>
            <a:ext cx="216000" cy="216000"/>
          </a:xfrm>
          <a:prstGeom prst="rect">
            <a:avLst/>
          </a:prstGeom>
          <a:solidFill>
            <a:srgbClr val="FFFFFF"/>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Untertitel 3">
            <a:extLst>
              <a:ext uri="{FF2B5EF4-FFF2-40B4-BE49-F238E27FC236}">
                <a16:creationId xmlns:a16="http://schemas.microsoft.com/office/drawing/2014/main" id="{5F9EFBBC-0843-916D-6F42-A204AFC7FED5}"/>
              </a:ext>
            </a:extLst>
          </p:cNvPr>
          <p:cNvSpPr txBox="1">
            <a:spLocks/>
          </p:cNvSpPr>
          <p:nvPr/>
        </p:nvSpPr>
        <p:spPr>
          <a:xfrm>
            <a:off x="719138" y="2099440"/>
            <a:ext cx="6047129" cy="482855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PV cells convert light into electricity. However, not all light is equally good at this job. PV cells are really good at using certain colors of light, especially those in the yellow to red range. These colors have just the right amount of energy to be converted into electricity efficiently.</a:t>
            </a:r>
          </a:p>
          <a:p>
            <a:endParaRPr lang="en-US" dirty="0"/>
          </a:p>
          <a:p>
            <a:r>
              <a:rPr lang="en-US" dirty="0"/>
              <a:t>	White Light		Yellow Light</a:t>
            </a:r>
          </a:p>
          <a:p>
            <a:endParaRPr lang="en-US" dirty="0"/>
          </a:p>
          <a:p>
            <a:r>
              <a:rPr lang="en-US" dirty="0"/>
              <a:t>o	This light contains all the colors. It has both high-energy and low-energy light. PV cells can’t use all of these colors equally well.</a:t>
            </a:r>
          </a:p>
          <a:p>
            <a:r>
              <a:rPr lang="en-US" dirty="0"/>
              <a:t>o	Blue and violet light have too much energy, which PV cells can’t use effectively.</a:t>
            </a:r>
          </a:p>
          <a:p>
            <a:r>
              <a:rPr lang="en-US" dirty="0"/>
              <a:t>o	Red and infrared light have lower energy, which might not be absorbed as well.</a:t>
            </a:r>
          </a:p>
          <a:p>
            <a:endParaRPr lang="en-US" dirty="0"/>
          </a:p>
          <a:p>
            <a:r>
              <a:rPr lang="en-US" dirty="0"/>
              <a:t>	White Light		Yellow Light</a:t>
            </a:r>
          </a:p>
          <a:p>
            <a:endParaRPr lang="en-US" dirty="0"/>
          </a:p>
          <a:p>
            <a:r>
              <a:rPr lang="en-US" dirty="0"/>
              <a:t>o	This light, which is in the middle of the spectrum, has the right amount of energy and is absorbed efficiently by most PV cells (as most of them are made by silicon). This makes it better for generating electricity than the mix of colors in white light. </a:t>
            </a:r>
          </a:p>
        </p:txBody>
      </p:sp>
      <p:sp>
        <p:nvSpPr>
          <p:cNvPr id="14" name="Multiplikationszeichen 13">
            <a:extLst>
              <a:ext uri="{FF2B5EF4-FFF2-40B4-BE49-F238E27FC236}">
                <a16:creationId xmlns:a16="http://schemas.microsoft.com/office/drawing/2014/main" id="{6F8E1396-A347-315F-025C-C4F873509D81}"/>
              </a:ext>
            </a:extLst>
          </p:cNvPr>
          <p:cNvSpPr/>
          <p:nvPr/>
        </p:nvSpPr>
        <p:spPr>
          <a:xfrm>
            <a:off x="922098" y="3124421"/>
            <a:ext cx="260611" cy="295562"/>
          </a:xfrm>
          <a:prstGeom prst="mathMultiply">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Multiplikationszeichen 14">
            <a:extLst>
              <a:ext uri="{FF2B5EF4-FFF2-40B4-BE49-F238E27FC236}">
                <a16:creationId xmlns:a16="http://schemas.microsoft.com/office/drawing/2014/main" id="{A9D6FE98-077F-996A-E93A-46FF1A35ED4D}"/>
              </a:ext>
            </a:extLst>
          </p:cNvPr>
          <p:cNvSpPr/>
          <p:nvPr/>
        </p:nvSpPr>
        <p:spPr>
          <a:xfrm>
            <a:off x="3190919" y="4566361"/>
            <a:ext cx="260611" cy="295562"/>
          </a:xfrm>
          <a:prstGeom prst="mathMultiply">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5732797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de-DE" smtClean="0"/>
              <a:t>19</a:t>
            </a:fld>
            <a:endParaRPr lang="de-DE"/>
          </a:p>
        </p:txBody>
      </p:sp>
      <p:sp>
        <p:nvSpPr>
          <p:cNvPr id="4" name="Titel 1">
            <a:extLst>
              <a:ext uri="{FF2B5EF4-FFF2-40B4-BE49-F238E27FC236}">
                <a16:creationId xmlns:a16="http://schemas.microsoft.com/office/drawing/2014/main" id="{9FED2E82-8B4E-CED3-E7CC-13BEEA6B927D}"/>
              </a:ext>
            </a:extLst>
          </p:cNvPr>
          <p:cNvSpPr>
            <a:spLocks noGrp="1"/>
          </p:cNvSpPr>
          <p:nvPr>
            <p:ph type="title"/>
          </p:nvPr>
        </p:nvSpPr>
        <p:spPr>
          <a:xfrm>
            <a:off x="589649" y="1121461"/>
            <a:ext cx="6380336" cy="636036"/>
          </a:xfrm>
        </p:spPr>
        <p:txBody>
          <a:bodyPr/>
          <a:lstStyle/>
          <a:p>
            <a:r>
              <a:rPr lang="de-DE"/>
              <a:t>2. Angle </a:t>
            </a:r>
            <a:r>
              <a:rPr lang="de-DE" err="1"/>
              <a:t>of</a:t>
            </a:r>
            <a:r>
              <a:rPr lang="de-DE"/>
              <a:t> </a:t>
            </a:r>
            <a:r>
              <a:rPr lang="de-DE" err="1"/>
              <a:t>incidence</a:t>
            </a:r>
            <a:endParaRPr lang="de-DE"/>
          </a:p>
        </p:txBody>
      </p:sp>
      <p:sp>
        <p:nvSpPr>
          <p:cNvPr id="6" name="Untertitel 3">
            <a:extLst>
              <a:ext uri="{FF2B5EF4-FFF2-40B4-BE49-F238E27FC236}">
                <a16:creationId xmlns:a16="http://schemas.microsoft.com/office/drawing/2014/main" id="{60826006-F73F-8F4D-B400-0565C4DD04A9}"/>
              </a:ext>
            </a:extLst>
          </p:cNvPr>
          <p:cNvSpPr txBox="1">
            <a:spLocks/>
          </p:cNvSpPr>
          <p:nvPr/>
        </p:nvSpPr>
        <p:spPr>
          <a:xfrm>
            <a:off x="730528" y="1944537"/>
            <a:ext cx="593312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This experiment explores how changing angle (inclination) of a PV cell affects its power output.</a:t>
            </a:r>
            <a:endParaRPr lang="de-DE" dirty="0"/>
          </a:p>
        </p:txBody>
      </p:sp>
      <p:sp>
        <p:nvSpPr>
          <p:cNvPr id="7" name="Untertitel 3">
            <a:extLst>
              <a:ext uri="{FF2B5EF4-FFF2-40B4-BE49-F238E27FC236}">
                <a16:creationId xmlns:a16="http://schemas.microsoft.com/office/drawing/2014/main" id="{2E9A378D-8DB5-F059-10CF-019382FA312B}"/>
              </a:ext>
            </a:extLst>
          </p:cNvPr>
          <p:cNvSpPr txBox="1">
            <a:spLocks/>
          </p:cNvSpPr>
          <p:nvPr/>
        </p:nvSpPr>
        <p:spPr>
          <a:xfrm>
            <a:off x="714810" y="5499426"/>
            <a:ext cx="5961200" cy="350398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150" b="1" dirty="0"/>
              <a:t>Follow these steps to conduct the experiment:</a:t>
            </a:r>
            <a:endParaRPr lang="en-US" sz="1150" dirty="0"/>
          </a:p>
          <a:p>
            <a:pPr>
              <a:buFont typeface="+mj-lt"/>
              <a:buAutoNum type="arabicPeriod"/>
            </a:pPr>
            <a:r>
              <a:rPr lang="en-US" sz="1150" dirty="0"/>
              <a:t>Place the yellow light source at a fixed distance from the PV cell. Place the PV cell in the neutral position i.e., in the position where light shines directly at the PV cell (the PV cell surface is perpendicular to the light radiation).</a:t>
            </a:r>
          </a:p>
          <a:p>
            <a:pPr>
              <a:buFont typeface="+mj-lt"/>
              <a:buAutoNum type="arabicPeriod"/>
            </a:pPr>
            <a:r>
              <a:rPr lang="en-US" sz="1150" dirty="0"/>
              <a:t>Adjust the angle of the PV cell in increments (e.g., 1st, 2nd, 3rd position). </a:t>
            </a:r>
          </a:p>
          <a:p>
            <a:pPr>
              <a:buFont typeface="+mj-lt"/>
              <a:buAutoNum type="arabicPeriod"/>
            </a:pPr>
            <a:r>
              <a:rPr lang="en-US" sz="1150" dirty="0"/>
              <a:t>Measure the voltage U and the current I for each position. </a:t>
            </a:r>
          </a:p>
          <a:p>
            <a:pPr>
              <a:buFont typeface="+mj-lt"/>
              <a:buAutoNum type="arabicPeriod"/>
            </a:pPr>
            <a:r>
              <a:rPr lang="en-US" sz="1150" dirty="0"/>
              <a:t>Optional: Measure the respective angle of incidence for each position (i.e., the angle between the neutral position and the effective one) </a:t>
            </a:r>
          </a:p>
          <a:p>
            <a:pPr>
              <a:buFont typeface="+mj-lt"/>
              <a:buAutoNum type="arabicPeriod"/>
            </a:pPr>
            <a:endParaRPr lang="en-US" dirty="0"/>
          </a:p>
        </p:txBody>
      </p:sp>
      <p:sp>
        <p:nvSpPr>
          <p:cNvPr id="9" name="Untertitel 5">
            <a:extLst>
              <a:ext uri="{FF2B5EF4-FFF2-40B4-BE49-F238E27FC236}">
                <a16:creationId xmlns:a16="http://schemas.microsoft.com/office/drawing/2014/main" id="{DEB0FB80-7FC2-F99B-F874-86E3DFC5E3C6}"/>
              </a:ext>
            </a:extLst>
          </p:cNvPr>
          <p:cNvSpPr txBox="1">
            <a:spLocks/>
          </p:cNvSpPr>
          <p:nvPr/>
        </p:nvSpPr>
        <p:spPr>
          <a:xfrm>
            <a:off x="1104692" y="269477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16" name="Ellipse 15">
            <a:extLst>
              <a:ext uri="{FF2B5EF4-FFF2-40B4-BE49-F238E27FC236}">
                <a16:creationId xmlns:a16="http://schemas.microsoft.com/office/drawing/2014/main" id="{9E8D979F-9F85-201F-4CE9-AB798FBE082B}"/>
              </a:ext>
            </a:extLst>
          </p:cNvPr>
          <p:cNvSpPr>
            <a:spLocks noChangeAspect="1"/>
          </p:cNvSpPr>
          <p:nvPr/>
        </p:nvSpPr>
        <p:spPr>
          <a:xfrm>
            <a:off x="730528" y="266528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Lupe mit einfarbiger Füllung">
            <a:extLst>
              <a:ext uri="{FF2B5EF4-FFF2-40B4-BE49-F238E27FC236}">
                <a16:creationId xmlns:a16="http://schemas.microsoft.com/office/drawing/2014/main" id="{7D2E4D58-7DF0-5940-E363-26A96A26D5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601" y="2728961"/>
            <a:ext cx="333865" cy="333865"/>
          </a:xfrm>
          <a:prstGeom prst="rect">
            <a:avLst/>
          </a:prstGeom>
        </p:spPr>
      </p:pic>
      <p:sp>
        <p:nvSpPr>
          <p:cNvPr id="5" name="Rechteck 4">
            <a:extLst>
              <a:ext uri="{FF2B5EF4-FFF2-40B4-BE49-F238E27FC236}">
                <a16:creationId xmlns:a16="http://schemas.microsoft.com/office/drawing/2014/main" id="{5E80462F-E3BC-6279-2B89-B93FD543E7F0}"/>
              </a:ext>
            </a:extLst>
          </p:cNvPr>
          <p:cNvSpPr/>
          <p:nvPr/>
        </p:nvSpPr>
        <p:spPr>
          <a:xfrm>
            <a:off x="714811" y="3424988"/>
            <a:ext cx="5740172" cy="1794858"/>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Untertitel 2">
            <a:extLst>
              <a:ext uri="{FF2B5EF4-FFF2-40B4-BE49-F238E27FC236}">
                <a16:creationId xmlns:a16="http://schemas.microsoft.com/office/drawing/2014/main" id="{00312AD6-B131-76FB-4187-0DF5BD99593D}"/>
              </a:ext>
            </a:extLst>
          </p:cNvPr>
          <p:cNvSpPr txBox="1">
            <a:spLocks/>
          </p:cNvSpPr>
          <p:nvPr/>
        </p:nvSpPr>
        <p:spPr>
          <a:xfrm>
            <a:off x="1095055" y="3967029"/>
            <a:ext cx="4979684" cy="110833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lvl="0">
              <a:buClrTx/>
              <a:buFont typeface="Arial" panose="020B0604020202020204" pitchFamily="34" charset="0"/>
              <a:buChar char="•"/>
            </a:pPr>
            <a:r>
              <a:rPr lang="en-US" sz="1150"/>
              <a:t>One Lamp, yellow light bulb</a:t>
            </a:r>
            <a:endParaRPr lang="de-DE" sz="1150"/>
          </a:p>
          <a:p>
            <a:pPr lvl="0">
              <a:buClrTx/>
              <a:buFont typeface="Arial" panose="020B0604020202020204" pitchFamily="34" charset="0"/>
              <a:buChar char="•"/>
            </a:pPr>
            <a:r>
              <a:rPr lang="en-US" sz="1150"/>
              <a:t>PV modules (small or big) </a:t>
            </a:r>
            <a:endParaRPr lang="de-DE" sz="1150"/>
          </a:p>
          <a:p>
            <a:pPr lvl="0">
              <a:buClrTx/>
              <a:buFont typeface="Arial" panose="020B0604020202020204" pitchFamily="34" charset="0"/>
              <a:buChar char="•"/>
            </a:pPr>
            <a:r>
              <a:rPr lang="en-US" sz="1150"/>
              <a:t>Multimeter</a:t>
            </a:r>
            <a:endParaRPr lang="de-DE" sz="1150"/>
          </a:p>
          <a:p>
            <a:pPr lvl="0">
              <a:buClrTx/>
              <a:buFont typeface="Arial" panose="020B0604020202020204" pitchFamily="34" charset="0"/>
              <a:buChar char="•"/>
            </a:pPr>
            <a:r>
              <a:rPr lang="en-US" sz="1150"/>
              <a:t>Meter rule</a:t>
            </a:r>
            <a:endParaRPr lang="de-DE" sz="1150"/>
          </a:p>
          <a:p>
            <a:pPr lvl="0">
              <a:buClrTx/>
              <a:buFont typeface="Arial" panose="020B0604020202020204" pitchFamily="34" charset="0"/>
              <a:buChar char="•"/>
            </a:pPr>
            <a:r>
              <a:rPr lang="en-US" sz="1150"/>
              <a:t>Holder for PV panels</a:t>
            </a:r>
            <a:endParaRPr lang="de-DE" sz="1150"/>
          </a:p>
        </p:txBody>
      </p:sp>
      <p:sp>
        <p:nvSpPr>
          <p:cNvPr id="14" name="Untertitel 5">
            <a:extLst>
              <a:ext uri="{FF2B5EF4-FFF2-40B4-BE49-F238E27FC236}">
                <a16:creationId xmlns:a16="http://schemas.microsoft.com/office/drawing/2014/main" id="{C52E3DCA-A4E2-EAD5-C2CB-73738AC4700A}"/>
              </a:ext>
            </a:extLst>
          </p:cNvPr>
          <p:cNvSpPr txBox="1">
            <a:spLocks/>
          </p:cNvSpPr>
          <p:nvPr/>
        </p:nvSpPr>
        <p:spPr>
          <a:xfrm>
            <a:off x="876962" y="3567710"/>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19" name="Gruppieren 18">
            <a:extLst>
              <a:ext uri="{FF2B5EF4-FFF2-40B4-BE49-F238E27FC236}">
                <a16:creationId xmlns:a16="http://schemas.microsoft.com/office/drawing/2014/main" id="{8AF93869-2761-9782-C759-BA8EC1F9786B}"/>
              </a:ext>
            </a:extLst>
          </p:cNvPr>
          <p:cNvGrpSpPr/>
          <p:nvPr/>
        </p:nvGrpSpPr>
        <p:grpSpPr>
          <a:xfrm>
            <a:off x="6273535" y="3344478"/>
            <a:ext cx="402475" cy="419630"/>
            <a:chOff x="6140368" y="3097011"/>
            <a:chExt cx="660145" cy="660145"/>
          </a:xfrm>
        </p:grpSpPr>
        <p:sp>
          <p:nvSpPr>
            <p:cNvPr id="20" name="Ellipse 19">
              <a:extLst>
                <a:ext uri="{FF2B5EF4-FFF2-40B4-BE49-F238E27FC236}">
                  <a16:creationId xmlns:a16="http://schemas.microsoft.com/office/drawing/2014/main" id="{017D0688-F16A-3A2E-166E-BB19394A7DB4}"/>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descr="Inventar mit einfarbiger Füllung">
              <a:extLst>
                <a:ext uri="{FF2B5EF4-FFF2-40B4-BE49-F238E27FC236}">
                  <a16:creationId xmlns:a16="http://schemas.microsoft.com/office/drawing/2014/main" id="{07FC6F35-B2A6-E314-2302-971B86D309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pic>
        <p:nvPicPr>
          <p:cNvPr id="23" name="Picture 12" descr="A light bulb and wires on a table&#10;&#10;Description automatically generated">
            <a:extLst>
              <a:ext uri="{FF2B5EF4-FFF2-40B4-BE49-F238E27FC236}">
                <a16:creationId xmlns:a16="http://schemas.microsoft.com/office/drawing/2014/main" id="{5A5E8F20-36A9-08B4-1A24-72DED477C0AC}"/>
              </a:ext>
            </a:extLst>
          </p:cNvPr>
          <p:cNvPicPr>
            <a:picLocks noChangeAspect="1"/>
          </p:cNvPicPr>
          <p:nvPr/>
        </p:nvPicPr>
        <p:blipFill rotWithShape="1">
          <a:blip r:embed="rId6"/>
          <a:srcRect l="16250" t="23805" r="31417" b="6048"/>
          <a:stretch/>
        </p:blipFill>
        <p:spPr>
          <a:xfrm rot="5400000">
            <a:off x="1222889" y="7327660"/>
            <a:ext cx="2600420" cy="2614187"/>
          </a:xfrm>
          <a:prstGeom prst="rect">
            <a:avLst/>
          </a:prstGeom>
        </p:spPr>
      </p:pic>
      <p:pic>
        <p:nvPicPr>
          <p:cNvPr id="24" name="Picture 9" descr="A solar panel and a light bulb&#10;&#10;Description automatically generated">
            <a:extLst>
              <a:ext uri="{FF2B5EF4-FFF2-40B4-BE49-F238E27FC236}">
                <a16:creationId xmlns:a16="http://schemas.microsoft.com/office/drawing/2014/main" id="{48579205-B85F-68AE-4B29-D3CF93313AB8}"/>
              </a:ext>
            </a:extLst>
          </p:cNvPr>
          <p:cNvPicPr>
            <a:picLocks noChangeAspect="1"/>
          </p:cNvPicPr>
          <p:nvPr/>
        </p:nvPicPr>
        <p:blipFill>
          <a:blip r:embed="rId7"/>
          <a:stretch>
            <a:fillRect/>
          </a:stretch>
        </p:blipFill>
        <p:spPr>
          <a:xfrm rot="5400000">
            <a:off x="3769920" y="7659596"/>
            <a:ext cx="2600422" cy="1950316"/>
          </a:xfrm>
          <a:prstGeom prst="rect">
            <a:avLst/>
          </a:prstGeom>
        </p:spPr>
      </p:pic>
    </p:spTree>
    <p:extLst>
      <p:ext uri="{BB962C8B-B14F-4D97-AF65-F5344CB8AC3E}">
        <p14:creationId xmlns:p14="http://schemas.microsoft.com/office/powerpoint/2010/main" val="35530339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B83C659-69AB-762B-636C-EF30E13F66DE}"/>
              </a:ext>
            </a:extLst>
          </p:cNvPr>
          <p:cNvGraphicFramePr>
            <a:graphicFrameLocks noChangeAspect="1"/>
          </p:cNvGraphicFramePr>
          <p:nvPr>
            <p:custDataLst>
              <p:tags r:id="rId1"/>
            </p:custDataLst>
            <p:extLst>
              <p:ext uri="{D42A27DB-BD31-4B8C-83A1-F6EECF244321}">
                <p14:modId xmlns:p14="http://schemas.microsoft.com/office/powerpoint/2010/main" val="169137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think-cell data - do not delete" hidden="1">
                        <a:extLst>
                          <a:ext uri="{FF2B5EF4-FFF2-40B4-BE49-F238E27FC236}">
                            <a16:creationId xmlns:a16="http://schemas.microsoft.com/office/drawing/2014/main" id="{7B83C659-69AB-762B-636C-EF30E13F6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4B82F80D-EBE8-7B85-2225-8FFD69742ED5}"/>
              </a:ext>
            </a:extLst>
          </p:cNvPr>
          <p:cNvSpPr>
            <a:spLocks noGrp="1"/>
          </p:cNvSpPr>
          <p:nvPr>
            <p:ph type="sldNum" sz="quarter" idx="4"/>
          </p:nvPr>
        </p:nvSpPr>
        <p:spPr/>
        <p:txBody>
          <a:bodyPr/>
          <a:lstStyle/>
          <a:p>
            <a:fld id="{DF7F771E-9578-4C04-B869-01AF4C35C90C}" type="slidenum">
              <a:rPr lang="de-DE" smtClean="0"/>
              <a:t>2</a:t>
            </a:fld>
            <a:endParaRPr lang="de-DE"/>
          </a:p>
        </p:txBody>
      </p:sp>
      <p:sp>
        <p:nvSpPr>
          <p:cNvPr id="6" name="Titel 1">
            <a:extLst>
              <a:ext uri="{FF2B5EF4-FFF2-40B4-BE49-F238E27FC236}">
                <a16:creationId xmlns:a16="http://schemas.microsoft.com/office/drawing/2014/main" id="{F7697B48-98C7-2D4D-028F-20A8A01892B8}"/>
              </a:ext>
            </a:extLst>
          </p:cNvPr>
          <p:cNvSpPr>
            <a:spLocks noGrp="1"/>
          </p:cNvSpPr>
          <p:nvPr>
            <p:ph type="title"/>
          </p:nvPr>
        </p:nvSpPr>
        <p:spPr>
          <a:xfrm>
            <a:off x="595250" y="1121461"/>
            <a:ext cx="6369175" cy="519708"/>
          </a:xfrm>
        </p:spPr>
        <p:txBody>
          <a:bodyPr vert="horz"/>
          <a:lstStyle/>
          <a:p>
            <a:r>
              <a:rPr lang="en-AU" dirty="0"/>
              <a:t>Introduction</a:t>
            </a:r>
          </a:p>
        </p:txBody>
      </p:sp>
      <p:sp>
        <p:nvSpPr>
          <p:cNvPr id="7" name="Untertitel 3">
            <a:extLst>
              <a:ext uri="{FF2B5EF4-FFF2-40B4-BE49-F238E27FC236}">
                <a16:creationId xmlns:a16="http://schemas.microsoft.com/office/drawing/2014/main" id="{48E25BC3-2A78-5F2C-F720-366C9B167CBD}"/>
              </a:ext>
            </a:extLst>
          </p:cNvPr>
          <p:cNvSpPr txBox="1">
            <a:spLocks/>
          </p:cNvSpPr>
          <p:nvPr/>
        </p:nvSpPr>
        <p:spPr>
          <a:xfrm>
            <a:off x="719137" y="2326497"/>
            <a:ext cx="6194281" cy="688677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SzPts val="1800"/>
            </a:pPr>
            <a:r>
              <a:rPr lang="en-US" sz="1488" b="1" dirty="0">
                <a:latin typeface="Epilogue"/>
                <a:sym typeface="Epilogue"/>
              </a:rPr>
              <a:t>Welcome to the World of Solar Power!</a:t>
            </a:r>
          </a:p>
          <a:p>
            <a:pPr marL="139700" indent="0"/>
            <a:r>
              <a:rPr lang="en-US" dirty="0"/>
              <a:t>Imagine harnessing the power of the sun to generate electricity. This is exactly what photovoltaic (PV) energy does. PV energy is a clean, renewable source of energy that converts sunlight directly into electricity using solar panels. In this workbook, you'll explore the fascinating world of PV energy, learning how it works, its benefits, and its potential to transform our energy future.</a:t>
            </a:r>
          </a:p>
          <a:p>
            <a:pPr>
              <a:buSzPts val="1800"/>
            </a:pPr>
            <a:endParaRPr lang="en-US" sz="1488" b="1" dirty="0">
              <a:latin typeface="Epilogue"/>
            </a:endParaRPr>
          </a:p>
          <a:p>
            <a:pPr>
              <a:buSzPts val="1800"/>
            </a:pPr>
            <a:r>
              <a:rPr lang="en-US" sz="1488" b="1" dirty="0">
                <a:latin typeface="Epilogue"/>
              </a:rPr>
              <a:t>Why Study Photovoltaic Energy?</a:t>
            </a:r>
          </a:p>
          <a:p>
            <a:pPr marL="139700" indent="0"/>
            <a:r>
              <a:rPr lang="en-US" dirty="0"/>
              <a:t>As our world faces the challenges of climate change and finite fossil fuel resources, renewable energy sources like PV energy are becoming increasingly important. Studying PV energy allows us to understand how we can reduce our carbon footprint and promote a more sustainable way of living. By learning about PV energy, you'll be gaining knowledge and skills that are essential for the future of our planet.</a:t>
            </a:r>
          </a:p>
          <a:p>
            <a:endParaRPr lang="en-US" dirty="0"/>
          </a:p>
          <a:p>
            <a:r>
              <a:rPr lang="en-US" sz="1488" b="1" dirty="0">
                <a:latin typeface="Epilogue"/>
              </a:rPr>
              <a:t>What Will You Learn?</a:t>
            </a:r>
          </a:p>
          <a:p>
            <a:r>
              <a:rPr lang="en-US" dirty="0"/>
              <a:t>In this workbook, you'll embark on an exciting journey through the science and technology of PV energy. Here are some of the key topics we'll cover:</a:t>
            </a:r>
          </a:p>
          <a:p>
            <a:pPr>
              <a:buFont typeface="Arial" panose="020B0604020202020204" pitchFamily="34" charset="0"/>
              <a:buChar char="•"/>
            </a:pPr>
            <a:r>
              <a:rPr lang="en-US" dirty="0"/>
              <a:t>The Basics of Photovoltaic Energy: Learn how solar panels convert sunlight into electricity.</a:t>
            </a:r>
          </a:p>
          <a:p>
            <a:pPr>
              <a:buFont typeface="Arial" panose="020B0604020202020204" pitchFamily="34" charset="0"/>
              <a:buChar char="•"/>
            </a:pPr>
            <a:r>
              <a:rPr lang="en-US" dirty="0"/>
              <a:t>Types of Solar Panels: Discover the different types of solar panels available.</a:t>
            </a:r>
          </a:p>
          <a:p>
            <a:pPr>
              <a:buFont typeface="Arial" panose="020B0604020202020204" pitchFamily="34" charset="0"/>
              <a:buChar char="•"/>
            </a:pPr>
            <a:r>
              <a:rPr lang="en-US" dirty="0"/>
              <a:t>External factors: Learn how external factors can influence the performance of a PV panel.</a:t>
            </a:r>
          </a:p>
          <a:p>
            <a:pPr>
              <a:buFont typeface="Arial" panose="020B0604020202020204" pitchFamily="34" charset="0"/>
              <a:buChar char="•"/>
            </a:pPr>
            <a:r>
              <a:rPr lang="en-US" dirty="0"/>
              <a:t>Connecting to a Load: Explore how PV systems connect to various loads, from household appliances to industrial machines</a:t>
            </a:r>
          </a:p>
          <a:p>
            <a:pPr>
              <a:buFont typeface="Arial" panose="020B0604020202020204" pitchFamily="34" charset="0"/>
              <a:buChar char="•"/>
            </a:pPr>
            <a:r>
              <a:rPr lang="en-US" dirty="0"/>
              <a:t>Hands-On Activities: Engage in experiments and projects that demonstrate the principles of PV energy. </a:t>
            </a:r>
          </a:p>
          <a:p>
            <a:pPr>
              <a:buFont typeface="Arial" panose="020B0604020202020204" pitchFamily="34" charset="0"/>
              <a:buChar char="•"/>
            </a:pPr>
            <a:endParaRPr lang="en-US" dirty="0"/>
          </a:p>
          <a:p>
            <a:r>
              <a:rPr lang="en-US" sz="1488" b="1" dirty="0">
                <a:latin typeface="Epilogue"/>
              </a:rPr>
              <a:t>How to Use This Workbook</a:t>
            </a:r>
          </a:p>
          <a:p>
            <a:pPr marL="139700" indent="0"/>
            <a:r>
              <a:rPr lang="en-US" dirty="0"/>
              <a:t>This workbook is designed to be interactive and engaging. Each section includes experiments, explanations and exercises  to help you understand and apply the concepts of PV energy.</a:t>
            </a:r>
          </a:p>
        </p:txBody>
      </p:sp>
    </p:spTree>
    <p:extLst>
      <p:ext uri="{BB962C8B-B14F-4D97-AF65-F5344CB8AC3E}">
        <p14:creationId xmlns:p14="http://schemas.microsoft.com/office/powerpoint/2010/main" val="16080537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322D3D-38D5-1D78-7ACF-55EE3A3F08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4" name="think-cell data - do not delete" hidden="1">
                        <a:extLst>
                          <a:ext uri="{FF2B5EF4-FFF2-40B4-BE49-F238E27FC236}">
                            <a16:creationId xmlns:a16="http://schemas.microsoft.com/office/drawing/2014/main" id="{28322D3D-38D5-1D78-7ACF-55EE3A3F08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81C61E71-754B-E79D-FAEF-B7D9E0483FDF}"/>
              </a:ext>
            </a:extLst>
          </p:cNvPr>
          <p:cNvSpPr>
            <a:spLocks noGrp="1"/>
          </p:cNvSpPr>
          <p:nvPr>
            <p:ph type="sldNum" sz="quarter" idx="4"/>
          </p:nvPr>
        </p:nvSpPr>
        <p:spPr/>
        <p:txBody>
          <a:bodyPr/>
          <a:lstStyle/>
          <a:p>
            <a:fld id="{DF7F771E-9578-4C04-B869-01AF4C35C90C}" type="slidenum">
              <a:rPr lang="de-DE" smtClean="0"/>
              <a:t>20</a:t>
            </a:fld>
            <a:endParaRPr lang="de-DE"/>
          </a:p>
        </p:txBody>
      </p:sp>
      <p:graphicFrame>
        <p:nvGraphicFramePr>
          <p:cNvPr id="22" name="Google Shape;630;p38">
            <a:extLst>
              <a:ext uri="{FF2B5EF4-FFF2-40B4-BE49-F238E27FC236}">
                <a16:creationId xmlns:a16="http://schemas.microsoft.com/office/drawing/2014/main" id="{B497EEDC-8F46-038F-2142-A7777EEE25B2}"/>
              </a:ext>
            </a:extLst>
          </p:cNvPr>
          <p:cNvGraphicFramePr/>
          <p:nvPr/>
        </p:nvGraphicFramePr>
        <p:xfrm>
          <a:off x="820332" y="1115207"/>
          <a:ext cx="5919009" cy="2012479"/>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Inclination Angle</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I</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Neutral Position</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1st position </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en-US" sz="1000" b="1" i="0" u="none" strike="noStrike" cap="none">
                          <a:solidFill>
                            <a:schemeClr val="dk1"/>
                          </a:solidFill>
                          <a:latin typeface="Sofia Sans"/>
                          <a:ea typeface="Sofia Sans"/>
                          <a:cs typeface="Arial"/>
                          <a:sym typeface="Arial"/>
                        </a:rPr>
                        <a:t>2nd position</a:t>
                      </a:r>
                      <a:endParaRPr lang="en-US" sz="1000" b="1" i="0" u="none" strike="noStrike" cap="none">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752982118"/>
                  </a:ext>
                </a:extLst>
              </a:tr>
              <a:tr h="325711">
                <a:tc>
                  <a:txBody>
                    <a:bodyPr/>
                    <a:lstStyle/>
                    <a:p>
                      <a:pPr marL="0" marR="0" lvl="0" indent="0" algn="ctr" rtl="0">
                        <a:lnSpc>
                          <a:spcPct val="115000"/>
                        </a:lnSpc>
                        <a:spcBef>
                          <a:spcPts val="0"/>
                        </a:spcBef>
                        <a:spcAft>
                          <a:spcPts val="0"/>
                        </a:spcAft>
                        <a:buClr>
                          <a:srgbClr val="000000"/>
                        </a:buClr>
                        <a:buFont typeface="Arial"/>
                        <a:buNone/>
                      </a:pPr>
                      <a:r>
                        <a:rPr lang="en-US" sz="1000" b="1" i="0" u="none" strike="noStrike" cap="none">
                          <a:solidFill>
                            <a:schemeClr val="dk1"/>
                          </a:solidFill>
                          <a:latin typeface="Sofia Sans"/>
                          <a:ea typeface="Arial"/>
                          <a:cs typeface="Arial"/>
                          <a:sym typeface="Arial"/>
                        </a:rPr>
                        <a:t>3rd position</a:t>
                      </a: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453281598"/>
                  </a:ext>
                </a:extLst>
              </a:tr>
              <a:tr h="325711">
                <a:tc>
                  <a:txBody>
                    <a:bodyPr/>
                    <a:lstStyle/>
                    <a:p>
                      <a:pPr marL="0" lvl="0" indent="0" algn="ctr" rtl="0">
                        <a:lnSpc>
                          <a:spcPct val="115000"/>
                        </a:lnSpc>
                        <a:spcBef>
                          <a:spcPts val="0"/>
                        </a:spcBef>
                        <a:spcAft>
                          <a:spcPts val="0"/>
                        </a:spcAft>
                        <a:buNone/>
                      </a:pPr>
                      <a:r>
                        <a:rPr lang="en-US" sz="1000" b="1" i="0" u="none" strike="noStrike" cap="none">
                          <a:solidFill>
                            <a:schemeClr val="dk1"/>
                          </a:solidFill>
                          <a:latin typeface="Sofia Sans"/>
                          <a:ea typeface="Sofia Sans"/>
                          <a:cs typeface="Arial"/>
                          <a:sym typeface="Arial"/>
                        </a:rPr>
                        <a:t>4th position</a:t>
                      </a:r>
                      <a:endParaRPr lang="en-US" sz="1000" b="1" i="0" u="none" strike="noStrike" cap="none">
                        <a:solidFill>
                          <a:schemeClr val="dk1"/>
                        </a:solidFill>
                        <a:latin typeface="Sofia Sans"/>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943509"/>
                  </a:ext>
                </a:extLst>
              </a:tr>
            </a:tbl>
          </a:graphicData>
        </a:graphic>
      </p:graphicFrame>
      <p:sp>
        <p:nvSpPr>
          <p:cNvPr id="5" name="Untertitel 5">
            <a:extLst>
              <a:ext uri="{FF2B5EF4-FFF2-40B4-BE49-F238E27FC236}">
                <a16:creationId xmlns:a16="http://schemas.microsoft.com/office/drawing/2014/main" id="{3A4927C7-6F99-6A99-A6D9-2ABF34AB5092}"/>
              </a:ext>
            </a:extLst>
          </p:cNvPr>
          <p:cNvSpPr txBox="1">
            <a:spLocks/>
          </p:cNvSpPr>
          <p:nvPr/>
        </p:nvSpPr>
        <p:spPr>
          <a:xfrm>
            <a:off x="1149170" y="381009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6" name="Ellipse 5">
            <a:extLst>
              <a:ext uri="{FF2B5EF4-FFF2-40B4-BE49-F238E27FC236}">
                <a16:creationId xmlns:a16="http://schemas.microsoft.com/office/drawing/2014/main" id="{941436FD-BCC1-69E9-3B63-65CED40F0E05}"/>
              </a:ext>
            </a:extLst>
          </p:cNvPr>
          <p:cNvSpPr>
            <a:spLocks noChangeAspect="1"/>
          </p:cNvSpPr>
          <p:nvPr/>
        </p:nvSpPr>
        <p:spPr>
          <a:xfrm>
            <a:off x="730529" y="3804154"/>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descr="Skizze mit einfarbiger Füllung">
            <a:extLst>
              <a:ext uri="{FF2B5EF4-FFF2-40B4-BE49-F238E27FC236}">
                <a16:creationId xmlns:a16="http://schemas.microsoft.com/office/drawing/2014/main" id="{053319C3-33F1-5EED-9B62-C7544179C83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5006" y="3867886"/>
            <a:ext cx="379044" cy="379044"/>
          </a:xfrm>
          <a:prstGeom prst="rect">
            <a:avLst/>
          </a:prstGeom>
        </p:spPr>
      </p:pic>
      <p:sp>
        <p:nvSpPr>
          <p:cNvPr id="8" name="Untertitel 5">
            <a:extLst>
              <a:ext uri="{FF2B5EF4-FFF2-40B4-BE49-F238E27FC236}">
                <a16:creationId xmlns:a16="http://schemas.microsoft.com/office/drawing/2014/main" id="{9E7759B4-AB88-1B15-8D80-4AE81F5B3F53}"/>
              </a:ext>
            </a:extLst>
          </p:cNvPr>
          <p:cNvSpPr txBox="1">
            <a:spLocks/>
          </p:cNvSpPr>
          <p:nvPr/>
        </p:nvSpPr>
        <p:spPr>
          <a:xfrm>
            <a:off x="719138" y="439904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1</a:t>
            </a:r>
          </a:p>
        </p:txBody>
      </p:sp>
      <p:sp>
        <p:nvSpPr>
          <p:cNvPr id="9" name="Textfeld 11">
            <a:extLst>
              <a:ext uri="{FF2B5EF4-FFF2-40B4-BE49-F238E27FC236}">
                <a16:creationId xmlns:a16="http://schemas.microsoft.com/office/drawing/2014/main" id="{B1EE7B8D-728F-561E-EDB8-FC9902121D5B}"/>
              </a:ext>
            </a:extLst>
          </p:cNvPr>
          <p:cNvSpPr txBox="1"/>
          <p:nvPr/>
        </p:nvSpPr>
        <p:spPr>
          <a:xfrm>
            <a:off x="730195" y="5518144"/>
            <a:ext cx="5919009" cy="140867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solidFill>
                  <a:srgbClr val="FF0000"/>
                </a:solidFill>
                <a:effectLst/>
                <a:latin typeface="Sofia Sans"/>
                <a:ea typeface="Times New Roman" panose="02020603050405020304" pitchFamily="18" charset="0"/>
              </a:rPr>
              <a:t>The </a:t>
            </a:r>
            <a:r>
              <a:rPr lang="en-US" sz="1200">
                <a:solidFill>
                  <a:srgbClr val="FF0000"/>
                </a:solidFill>
                <a:latin typeface="Sofia Sans"/>
                <a:ea typeface="Times New Roman" panose="02020603050405020304" pitchFamily="18" charset="0"/>
              </a:rPr>
              <a:t>neutral position, i.e., the position where the PV panel surface is perpendicular to the sun radiation, (angle of incidence=0°) leads to the highest current and voltage. </a:t>
            </a:r>
            <a:endParaRPr lang="it-IT"/>
          </a:p>
          <a:p>
            <a:r>
              <a:rPr lang="en-US" sz="1200" b="1">
                <a:solidFill>
                  <a:srgbClr val="FF0000"/>
                </a:solidFill>
                <a:latin typeface="Sofia Sans"/>
                <a:ea typeface="Times New Roman" panose="02020603050405020304" pitchFamily="18" charset="0"/>
              </a:rPr>
              <a:t>Optional: </a:t>
            </a:r>
            <a:r>
              <a:rPr lang="en-US" sz="1200">
                <a:solidFill>
                  <a:srgbClr val="FF0000"/>
                </a:solidFill>
                <a:latin typeface="Sofia Sans"/>
                <a:ea typeface="Times New Roman" panose="02020603050405020304" pitchFamily="18" charset="0"/>
              </a:rPr>
              <a:t>Consequently, </a:t>
            </a:r>
            <a:r>
              <a:rPr lang="en-US" sz="1200">
                <a:solidFill>
                  <a:srgbClr val="FF0000"/>
                </a:solidFill>
                <a:effectLst/>
                <a:latin typeface="Sofia Sans"/>
                <a:ea typeface="Times New Roman" panose="02020603050405020304" pitchFamily="18" charset="0"/>
              </a:rPr>
              <a:t>to capture the most sunlight throughout the day, a photovoltaic (PV) cell should generally be oriented towards the equator. This means:</a:t>
            </a:r>
            <a:endParaRPr lang="en-US"/>
          </a:p>
          <a:p>
            <a:r>
              <a:rPr lang="en-US" sz="1200">
                <a:solidFill>
                  <a:srgbClr val="FF0000"/>
                </a:solidFill>
                <a:effectLst/>
                <a:latin typeface="Sofia Sans"/>
                <a:ea typeface="Times New Roman" panose="02020603050405020304" pitchFamily="18" charset="0"/>
              </a:rPr>
              <a:t>-	In the Northern Hemisphere, PV cells should be faced south.</a:t>
            </a:r>
          </a:p>
          <a:p>
            <a:r>
              <a:rPr lang="en-US" sz="1200">
                <a:solidFill>
                  <a:srgbClr val="FF0000"/>
                </a:solidFill>
                <a:effectLst/>
                <a:latin typeface="Sofia Sans"/>
                <a:ea typeface="Times New Roman" panose="02020603050405020304" pitchFamily="18" charset="0"/>
              </a:rPr>
              <a:t>-	In the Southern Hemisphere, PV cells should be faced north.</a:t>
            </a:r>
          </a:p>
        </p:txBody>
      </p:sp>
      <p:sp>
        <p:nvSpPr>
          <p:cNvPr id="11" name="Untertitel 3">
            <a:extLst>
              <a:ext uri="{FF2B5EF4-FFF2-40B4-BE49-F238E27FC236}">
                <a16:creationId xmlns:a16="http://schemas.microsoft.com/office/drawing/2014/main" id="{C5107335-C559-E6D1-CF82-CCF7C8E26BC5}"/>
              </a:ext>
            </a:extLst>
          </p:cNvPr>
          <p:cNvSpPr txBox="1">
            <a:spLocks/>
          </p:cNvSpPr>
          <p:nvPr/>
        </p:nvSpPr>
        <p:spPr>
          <a:xfrm>
            <a:off x="730195" y="4829437"/>
            <a:ext cx="5944510"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Based on your observations, which position leads to the highest current and voltage? Which respective angle of incidence has this position? </a:t>
            </a:r>
          </a:p>
        </p:txBody>
      </p:sp>
      <p:sp>
        <p:nvSpPr>
          <p:cNvPr id="12" name="Untertitel 5">
            <a:extLst>
              <a:ext uri="{FF2B5EF4-FFF2-40B4-BE49-F238E27FC236}">
                <a16:creationId xmlns:a16="http://schemas.microsoft.com/office/drawing/2014/main" id="{83CF97A3-D324-A7D0-210D-A7CD684E8619}"/>
              </a:ext>
            </a:extLst>
          </p:cNvPr>
          <p:cNvSpPr txBox="1">
            <a:spLocks/>
          </p:cNvSpPr>
          <p:nvPr/>
        </p:nvSpPr>
        <p:spPr>
          <a:xfrm>
            <a:off x="719138" y="7117683"/>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2</a:t>
            </a:r>
          </a:p>
        </p:txBody>
      </p:sp>
      <p:sp>
        <p:nvSpPr>
          <p:cNvPr id="14" name="Textfeld 11">
            <a:extLst>
              <a:ext uri="{FF2B5EF4-FFF2-40B4-BE49-F238E27FC236}">
                <a16:creationId xmlns:a16="http://schemas.microsoft.com/office/drawing/2014/main" id="{77C5ED29-4943-935A-0BA5-7C9D58417C24}"/>
              </a:ext>
            </a:extLst>
          </p:cNvPr>
          <p:cNvSpPr txBox="1"/>
          <p:nvPr/>
        </p:nvSpPr>
        <p:spPr>
          <a:xfrm>
            <a:off x="730195" y="8289523"/>
            <a:ext cx="5919009" cy="1408675"/>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dirty="0">
                <a:solidFill>
                  <a:srgbClr val="FF0000"/>
                </a:solidFill>
                <a:latin typeface="Sofia Sans"/>
              </a:rPr>
              <a:t>The current I and the voltage V generated by a PV cell are highest when the angle of incidence is 0 degrees. Both current and voltage decrease as the angle of incidence increases.</a:t>
            </a:r>
            <a:endParaRPr lang="en-US" sz="1200" dirty="0">
              <a:solidFill>
                <a:srgbClr val="FF0000"/>
              </a:solidFill>
              <a:effectLst/>
              <a:latin typeface="Sofia Sans"/>
              <a:ea typeface="Times New Roman" panose="02020603050405020304" pitchFamily="18" charset="0"/>
            </a:endParaRPr>
          </a:p>
        </p:txBody>
      </p:sp>
      <p:sp>
        <p:nvSpPr>
          <p:cNvPr id="15" name="Untertitel 3">
            <a:extLst>
              <a:ext uri="{FF2B5EF4-FFF2-40B4-BE49-F238E27FC236}">
                <a16:creationId xmlns:a16="http://schemas.microsoft.com/office/drawing/2014/main" id="{F6F31415-EBCA-7E41-930A-183A69247141}"/>
              </a:ext>
            </a:extLst>
          </p:cNvPr>
          <p:cNvSpPr txBox="1">
            <a:spLocks/>
          </p:cNvSpPr>
          <p:nvPr/>
        </p:nvSpPr>
        <p:spPr>
          <a:xfrm>
            <a:off x="730195" y="7548075"/>
            <a:ext cx="5944510"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Based on your observations, what is the relationship between the angle of incidence and the current/voltage.</a:t>
            </a:r>
          </a:p>
        </p:txBody>
      </p:sp>
    </p:spTree>
    <p:extLst>
      <p:ext uri="{BB962C8B-B14F-4D97-AF65-F5344CB8AC3E}">
        <p14:creationId xmlns:p14="http://schemas.microsoft.com/office/powerpoint/2010/main" val="4270279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CF04BCCA-CEBA-6D2B-A1A5-6D02998C9B31}"/>
              </a:ext>
            </a:extLst>
          </p:cNvPr>
          <p:cNvSpPr>
            <a:spLocks noGrp="1"/>
          </p:cNvSpPr>
          <p:nvPr>
            <p:ph type="sldNum" sz="quarter" idx="4"/>
          </p:nvPr>
        </p:nvSpPr>
        <p:spPr/>
        <p:txBody>
          <a:bodyPr/>
          <a:lstStyle/>
          <a:p>
            <a:fld id="{DF7F771E-9578-4C04-B869-01AF4C35C90C}" type="slidenum">
              <a:rPr lang="de-DE" smtClean="0"/>
              <a:t>21</a:t>
            </a:fld>
            <a:endParaRPr lang="de-DE"/>
          </a:p>
        </p:txBody>
      </p:sp>
      <p:sp>
        <p:nvSpPr>
          <p:cNvPr id="6" name="Untertitel 3">
            <a:extLst>
              <a:ext uri="{FF2B5EF4-FFF2-40B4-BE49-F238E27FC236}">
                <a16:creationId xmlns:a16="http://schemas.microsoft.com/office/drawing/2014/main" id="{83FE2716-CDE7-D837-7308-750A75ECA174}"/>
              </a:ext>
            </a:extLst>
          </p:cNvPr>
          <p:cNvSpPr txBox="1">
            <a:spLocks/>
          </p:cNvSpPr>
          <p:nvPr/>
        </p:nvSpPr>
        <p:spPr>
          <a:xfrm>
            <a:off x="744173" y="2220064"/>
            <a:ext cx="5985614" cy="229186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Font typeface="+mj-lt"/>
              <a:buAutoNum type="arabicPeriod"/>
            </a:pPr>
            <a:r>
              <a:rPr lang="en-US" b="1" i="1">
                <a:solidFill>
                  <a:schemeClr val="accent1"/>
                </a:solidFill>
              </a:rPr>
              <a:t>Background</a:t>
            </a:r>
          </a:p>
          <a:p>
            <a:pPr lvl="1" algn="l">
              <a:buFont typeface="Arial" panose="020B0604020202020204" pitchFamily="34" charset="0"/>
              <a:buChar char="•"/>
            </a:pPr>
            <a:r>
              <a:rPr lang="en-US"/>
              <a:t>The power output of a PV cell is directly proportional to the cosine of the angle (θ) between the incoming sunlight  and the line perpendicular to the PV cell surface. </a:t>
            </a:r>
          </a:p>
          <a:p>
            <a:pPr marL="596900" lvl="1" indent="0" algn="l"/>
            <a:r>
              <a:rPr lang="en-US">
                <a:sym typeface="Wingdings" panose="05000000000000000000" pitchFamily="2" charset="2"/>
              </a:rPr>
              <a:t>	 </a:t>
            </a:r>
            <a:r>
              <a:rPr lang="en-US"/>
              <a:t>This is known as the cosine loss.</a:t>
            </a:r>
          </a:p>
          <a:p>
            <a:pPr lvl="1" algn="l">
              <a:buFont typeface="Arial" panose="020B0604020202020204" pitchFamily="34" charset="0"/>
              <a:buChar char="•"/>
            </a:pPr>
            <a:r>
              <a:rPr lang="en-US"/>
              <a:t>When the PV cell is perpendicular to the light source (θ = 0°),  the cosine of the angle is 1</a:t>
            </a:r>
          </a:p>
          <a:p>
            <a:pPr marL="596900" lvl="1" indent="0" algn="l"/>
            <a:r>
              <a:rPr lang="en-US">
                <a:sym typeface="Wingdings" panose="05000000000000000000" pitchFamily="2" charset="2"/>
              </a:rPr>
              <a:t>	 </a:t>
            </a:r>
            <a:r>
              <a:rPr lang="en-US"/>
              <a:t>meaning there is no loss.</a:t>
            </a:r>
          </a:p>
          <a:p>
            <a:pPr lvl="1" algn="l">
              <a:buFont typeface="Arial" panose="020B0604020202020204" pitchFamily="34" charset="0"/>
              <a:buChar char="•"/>
            </a:pPr>
            <a:r>
              <a:rPr lang="en-US"/>
              <a:t>As the angle θ increases from 0°, the cosine value decreases, reducing the power output, due to less solar radiation being effectively captured. </a:t>
            </a:r>
          </a:p>
          <a:p>
            <a:pPr lvl="1" algn="l">
              <a:buFont typeface="Arial" panose="020B0604020202020204" pitchFamily="34" charset="0"/>
              <a:buChar char="•"/>
            </a:pPr>
            <a:endParaRPr lang="en-US"/>
          </a:p>
          <a:p>
            <a:pPr>
              <a:buFont typeface="+mj-lt"/>
              <a:buAutoNum type="arabicPeriod"/>
            </a:pPr>
            <a:r>
              <a:rPr lang="en-US" b="1" i="1">
                <a:solidFill>
                  <a:schemeClr val="accent1"/>
                </a:solidFill>
              </a:rPr>
              <a:t>Derive the Formula for inclination induced losses</a:t>
            </a:r>
          </a:p>
          <a:p>
            <a:pPr>
              <a:buFont typeface="+mj-lt"/>
              <a:buAutoNum type="arabicPeriod"/>
            </a:pPr>
            <a:endParaRPr lang="en-US"/>
          </a:p>
          <a:p>
            <a:pPr>
              <a:buFont typeface="+mj-lt"/>
              <a:buAutoNum type="arabicPeriod"/>
            </a:pPr>
            <a:endParaRPr lang="en-US"/>
          </a:p>
          <a:p>
            <a:pPr>
              <a:buFont typeface="+mj-lt"/>
              <a:buAutoNum type="arabicPeriod"/>
            </a:pPr>
            <a:endParaRPr lang="en-US"/>
          </a:p>
          <a:p>
            <a:pPr>
              <a:buFont typeface="+mj-lt"/>
              <a:buAutoNum type="arabicPeriod"/>
            </a:pPr>
            <a:endParaRPr lang="en-US"/>
          </a:p>
          <a:p>
            <a:pPr>
              <a:buFont typeface="+mj-lt"/>
              <a:buAutoNum type="arabicPeriod"/>
            </a:pPr>
            <a:endParaRPr lang="en-US"/>
          </a:p>
          <a:p>
            <a:pPr>
              <a:buFont typeface="+mj-lt"/>
              <a:buAutoNum type="arabicPeriod"/>
            </a:pPr>
            <a:endParaRPr lang="en-US"/>
          </a:p>
          <a:p>
            <a:pPr>
              <a:buFont typeface="+mj-lt"/>
              <a:buAutoNum type="arabicPeriod"/>
            </a:pPr>
            <a:endParaRPr lang="en-US"/>
          </a:p>
        </p:txBody>
      </p:sp>
      <p:sp>
        <p:nvSpPr>
          <p:cNvPr id="7" name="Untertitel 3">
            <a:extLst>
              <a:ext uri="{FF2B5EF4-FFF2-40B4-BE49-F238E27FC236}">
                <a16:creationId xmlns:a16="http://schemas.microsoft.com/office/drawing/2014/main" id="{535D2D51-47DB-76E5-78E4-76F8518B38EF}"/>
              </a:ext>
            </a:extLst>
          </p:cNvPr>
          <p:cNvSpPr txBox="1">
            <a:spLocks/>
          </p:cNvSpPr>
          <p:nvPr/>
        </p:nvSpPr>
        <p:spPr>
          <a:xfrm>
            <a:off x="736224" y="1674908"/>
            <a:ext cx="5944510" cy="6220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To understand how the angle affects the power output, let’s derive the formula for the losses due to inclination:</a:t>
            </a:r>
          </a:p>
        </p:txBody>
      </p:sp>
      <p:sp>
        <p:nvSpPr>
          <p:cNvPr id="8" name="Untertitel 5">
            <a:extLst>
              <a:ext uri="{FF2B5EF4-FFF2-40B4-BE49-F238E27FC236}">
                <a16:creationId xmlns:a16="http://schemas.microsoft.com/office/drawing/2014/main" id="{CDCE4565-5D0C-3A6E-8175-8291AF5797B9}"/>
              </a:ext>
            </a:extLst>
          </p:cNvPr>
          <p:cNvSpPr txBox="1">
            <a:spLocks/>
          </p:cNvSpPr>
          <p:nvPr/>
        </p:nvSpPr>
        <p:spPr>
          <a:xfrm>
            <a:off x="730529" y="128526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3</a:t>
            </a:r>
          </a:p>
        </p:txBody>
      </p:sp>
      <p:sp>
        <p:nvSpPr>
          <p:cNvPr id="9" name="Textfeld 11">
            <a:extLst>
              <a:ext uri="{FF2B5EF4-FFF2-40B4-BE49-F238E27FC236}">
                <a16:creationId xmlns:a16="http://schemas.microsoft.com/office/drawing/2014/main" id="{B555E9B8-F939-5967-1085-356A90B30FB2}"/>
              </a:ext>
            </a:extLst>
          </p:cNvPr>
          <p:cNvSpPr txBox="1"/>
          <p:nvPr/>
        </p:nvSpPr>
        <p:spPr>
          <a:xfrm>
            <a:off x="744173" y="4968132"/>
            <a:ext cx="5997005" cy="1641918"/>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solidFill>
                  <a:srgbClr val="FF0000"/>
                </a:solidFill>
                <a:effectLst/>
                <a:latin typeface="Sofia Sans" panose="020B0604020202020204" charset="0"/>
                <a:ea typeface="Times New Roman" panose="02020603050405020304" pitchFamily="18" charset="0"/>
              </a:rPr>
              <a:t>Let’s denote:</a:t>
            </a:r>
            <a:endParaRPr lang="de-DE" sz="1200">
              <a:solidFill>
                <a:srgbClr val="FF0000"/>
              </a:solidFill>
              <a:effectLst/>
              <a:latin typeface="Sofia Sans" panose="020B0604020202020204" charset="0"/>
              <a:ea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US" sz="1200">
                <a:solidFill>
                  <a:srgbClr val="FF0000"/>
                </a:solidFill>
                <a:effectLst/>
                <a:latin typeface="Sofia Sans" panose="020B0604020202020204" charset="0"/>
                <a:ea typeface="Times New Roman" panose="02020603050405020304" pitchFamily="18" charset="0"/>
              </a:rPr>
              <a:t>P</a:t>
            </a:r>
            <a:r>
              <a:rPr lang="en-US" sz="1200" baseline="-25000">
                <a:solidFill>
                  <a:srgbClr val="FF0000"/>
                </a:solidFill>
                <a:effectLst/>
                <a:latin typeface="Sofia Sans" panose="020B0604020202020204" charset="0"/>
                <a:ea typeface="Times New Roman" panose="02020603050405020304" pitchFamily="18" charset="0"/>
              </a:rPr>
              <a:t>max</a:t>
            </a:r>
            <a:r>
              <a:rPr lang="en-US" sz="1200">
                <a:solidFill>
                  <a:srgbClr val="FF0000"/>
                </a:solidFill>
                <a:effectLst/>
                <a:latin typeface="Sofia Sans" panose="020B0604020202020204" charset="0"/>
                <a:ea typeface="Times New Roman" panose="02020603050405020304" pitchFamily="18" charset="0"/>
              </a:rPr>
              <a:t> = the maximum power output when the PV cell is perpendicular to the light</a:t>
            </a:r>
            <a:endParaRPr lang="de-DE" sz="1200">
              <a:solidFill>
                <a:srgbClr val="FF0000"/>
              </a:solidFill>
              <a:effectLst/>
              <a:latin typeface="Sofia Sans" panose="020B0604020202020204" charset="0"/>
              <a:ea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US" sz="1200" err="1">
                <a:solidFill>
                  <a:srgbClr val="FF0000"/>
                </a:solidFill>
                <a:effectLst/>
                <a:latin typeface="Sofia Sans" panose="020B0604020202020204" charset="0"/>
                <a:ea typeface="Times New Roman" panose="02020603050405020304" pitchFamily="18" charset="0"/>
              </a:rPr>
              <a:t>P</a:t>
            </a:r>
            <a:r>
              <a:rPr lang="en-US" sz="1200" baseline="-25000" err="1">
                <a:solidFill>
                  <a:srgbClr val="FF0000"/>
                </a:solidFill>
                <a:effectLst/>
                <a:latin typeface="Sofia Sans" panose="020B0604020202020204" charset="0"/>
                <a:ea typeface="Times New Roman" panose="02020603050405020304" pitchFamily="18" charset="0"/>
              </a:rPr>
              <a:t>eff</a:t>
            </a:r>
            <a:r>
              <a:rPr lang="en-US" sz="1200">
                <a:solidFill>
                  <a:srgbClr val="FF0000"/>
                </a:solidFill>
                <a:effectLst/>
                <a:latin typeface="Sofia Sans" panose="020B0604020202020204" charset="0"/>
                <a:ea typeface="Times New Roman" panose="02020603050405020304" pitchFamily="18" charset="0"/>
              </a:rPr>
              <a:t> = the effective power output when the PV cell is tilted at an angle θ</a:t>
            </a:r>
            <a:endParaRPr lang="de-DE" sz="1200">
              <a:solidFill>
                <a:srgbClr val="FF0000"/>
              </a:solidFill>
              <a:latin typeface="Sofia Sans" panose="020B0604020202020204" charset="0"/>
              <a:ea typeface="Times New Roman" panose="02020603050405020304" pitchFamily="18" charset="0"/>
            </a:endParaRPr>
          </a:p>
          <a:p>
            <a:pPr lvl="0">
              <a:buSzPts val="1000"/>
              <a:tabLst>
                <a:tab pos="457200" algn="l"/>
              </a:tabLst>
            </a:pPr>
            <a:r>
              <a:rPr lang="en-US" sz="1200">
                <a:solidFill>
                  <a:srgbClr val="FF0000"/>
                </a:solidFill>
                <a:effectLst/>
                <a:latin typeface="Sofia Sans" panose="020B0604020202020204" charset="0"/>
                <a:ea typeface="Times New Roman" panose="02020603050405020304" pitchFamily="18" charset="0"/>
              </a:rPr>
              <a:t> The relationship can be written as: </a:t>
            </a:r>
            <a:r>
              <a:rPr lang="en-US" sz="1200" b="1" err="1">
                <a:solidFill>
                  <a:srgbClr val="FF0000"/>
                </a:solidFill>
                <a:effectLst/>
                <a:latin typeface="Sofia Sans" panose="020B0604020202020204" charset="0"/>
                <a:ea typeface="Times New Roman" panose="02020603050405020304" pitchFamily="18" charset="0"/>
              </a:rPr>
              <a:t>P</a:t>
            </a:r>
            <a:r>
              <a:rPr lang="en-US" sz="1200" b="1" baseline="-25000" err="1">
                <a:solidFill>
                  <a:srgbClr val="FF0000"/>
                </a:solidFill>
                <a:effectLst/>
                <a:latin typeface="Sofia Sans" panose="020B0604020202020204" charset="0"/>
                <a:ea typeface="Times New Roman" panose="02020603050405020304" pitchFamily="18" charset="0"/>
              </a:rPr>
              <a:t>eff</a:t>
            </a:r>
            <a:r>
              <a:rPr lang="en-US" sz="1200" b="1" baseline="-25000">
                <a:solidFill>
                  <a:srgbClr val="FF0000"/>
                </a:solidFill>
                <a:effectLst/>
                <a:latin typeface="Sofia Sans" panose="020B0604020202020204" charset="0"/>
                <a:ea typeface="Times New Roman" panose="02020603050405020304" pitchFamily="18" charset="0"/>
              </a:rPr>
              <a:t> </a:t>
            </a:r>
            <a:r>
              <a:rPr lang="en-US" sz="1200" b="1">
                <a:solidFill>
                  <a:srgbClr val="FF0000"/>
                </a:solidFill>
                <a:effectLst/>
                <a:latin typeface="Sofia Sans" panose="020B0604020202020204" charset="0"/>
                <a:ea typeface="Times New Roman" panose="02020603050405020304" pitchFamily="18" charset="0"/>
              </a:rPr>
              <a:t>= P</a:t>
            </a:r>
            <a:r>
              <a:rPr lang="en-US" sz="1200" b="1" baseline="-25000">
                <a:solidFill>
                  <a:srgbClr val="FF0000"/>
                </a:solidFill>
                <a:effectLst/>
                <a:latin typeface="Sofia Sans" panose="020B0604020202020204" charset="0"/>
                <a:ea typeface="Times New Roman" panose="02020603050405020304" pitchFamily="18" charset="0"/>
              </a:rPr>
              <a:t>max </a:t>
            </a:r>
            <a:r>
              <a:rPr lang="en-US" sz="1200" b="1">
                <a:solidFill>
                  <a:srgbClr val="FF0000"/>
                </a:solidFill>
                <a:effectLst/>
                <a:latin typeface="Sofia Sans" panose="020B0604020202020204" charset="0"/>
                <a:ea typeface="Times New Roman" panose="02020603050405020304" pitchFamily="18" charset="0"/>
              </a:rPr>
              <a:t>× cos(θ)</a:t>
            </a:r>
            <a:r>
              <a:rPr lang="en-US" sz="1200">
                <a:solidFill>
                  <a:srgbClr val="FF0000"/>
                </a:solidFill>
                <a:effectLst/>
                <a:latin typeface="Sofia Sans" panose="020B0604020202020204" charset="0"/>
                <a:ea typeface="Times New Roman" panose="02020603050405020304" pitchFamily="18" charset="0"/>
              </a:rPr>
              <a:t> </a:t>
            </a:r>
            <a:endParaRPr lang="de-DE" sz="1200">
              <a:solidFill>
                <a:srgbClr val="FF0000"/>
              </a:solidFill>
              <a:effectLst/>
              <a:latin typeface="Sofia Sans" panose="020B0604020202020204" charset="0"/>
              <a:ea typeface="Times New Roman" panose="02020603050405020304" pitchFamily="18" charset="0"/>
            </a:endParaRPr>
          </a:p>
          <a:p>
            <a:r>
              <a:rPr lang="en-US" sz="1200">
                <a:solidFill>
                  <a:srgbClr val="FF0000"/>
                </a:solidFill>
                <a:latin typeface="Sofia Sans" panose="020B0604020202020204" charset="0"/>
                <a:ea typeface="Times New Roman" panose="02020603050405020304" pitchFamily="18" charset="0"/>
              </a:rPr>
              <a:t>T</a:t>
            </a:r>
            <a:r>
              <a:rPr lang="en-US" sz="1200">
                <a:solidFill>
                  <a:srgbClr val="FF0000"/>
                </a:solidFill>
                <a:effectLst/>
                <a:latin typeface="Sofia Sans" panose="020B0604020202020204" charset="0"/>
                <a:ea typeface="Times New Roman" panose="02020603050405020304" pitchFamily="18" charset="0"/>
              </a:rPr>
              <a:t>his formula tells us that the effective power output decreases as the angle increases</a:t>
            </a:r>
            <a:endParaRPr lang="de-DE" sz="1200">
              <a:effectLst/>
              <a:latin typeface="Times New Roman" panose="02020603050405020304" pitchFamily="18" charset="0"/>
              <a:ea typeface="Times New Roman" panose="02020603050405020304" pitchFamily="18" charset="0"/>
            </a:endParaRPr>
          </a:p>
        </p:txBody>
      </p:sp>
      <p:sp>
        <p:nvSpPr>
          <p:cNvPr id="11" name="Untertitel 3">
            <a:extLst>
              <a:ext uri="{FF2B5EF4-FFF2-40B4-BE49-F238E27FC236}">
                <a16:creationId xmlns:a16="http://schemas.microsoft.com/office/drawing/2014/main" id="{69E63903-30FB-5D87-E329-93A8E4DE9A6A}"/>
              </a:ext>
            </a:extLst>
          </p:cNvPr>
          <p:cNvSpPr txBox="1">
            <a:spLocks/>
          </p:cNvSpPr>
          <p:nvPr/>
        </p:nvSpPr>
        <p:spPr>
          <a:xfrm>
            <a:off x="724833" y="7137116"/>
            <a:ext cx="5944510" cy="6220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Let’s assume a  PV panels maximum power is Pmax = 100kWh. The angle of incidence is </a:t>
            </a:r>
            <a:r>
              <a:rPr lang="en-US" dirty="0">
                <a:sym typeface="Arial"/>
              </a:rPr>
              <a:t>30°</a:t>
            </a:r>
            <a:r>
              <a:rPr lang="en-US" dirty="0"/>
              <a:t>. Calculate the effective power output </a:t>
            </a:r>
            <a:r>
              <a:rPr lang="en-US" dirty="0" err="1"/>
              <a:t>Peff</a:t>
            </a:r>
            <a:r>
              <a:rPr lang="en-US" dirty="0"/>
              <a:t> .  </a:t>
            </a:r>
          </a:p>
        </p:txBody>
      </p:sp>
      <p:sp>
        <p:nvSpPr>
          <p:cNvPr id="12" name="Untertitel 5">
            <a:extLst>
              <a:ext uri="{FF2B5EF4-FFF2-40B4-BE49-F238E27FC236}">
                <a16:creationId xmlns:a16="http://schemas.microsoft.com/office/drawing/2014/main" id="{7442C9C9-D1AB-E5CA-D31F-4204B706DFD4}"/>
              </a:ext>
            </a:extLst>
          </p:cNvPr>
          <p:cNvSpPr txBox="1">
            <a:spLocks/>
          </p:cNvSpPr>
          <p:nvPr/>
        </p:nvSpPr>
        <p:spPr>
          <a:xfrm>
            <a:off x="719138" y="674747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4</a:t>
            </a:r>
          </a:p>
        </p:txBody>
      </p:sp>
      <p:sp>
        <p:nvSpPr>
          <p:cNvPr id="13" name="Textfeld 11">
            <a:extLst>
              <a:ext uri="{FF2B5EF4-FFF2-40B4-BE49-F238E27FC236}">
                <a16:creationId xmlns:a16="http://schemas.microsoft.com/office/drawing/2014/main" id="{CA9EE134-055B-3215-B112-25BECC17B668}"/>
              </a:ext>
            </a:extLst>
          </p:cNvPr>
          <p:cNvSpPr txBox="1"/>
          <p:nvPr/>
        </p:nvSpPr>
        <p:spPr>
          <a:xfrm>
            <a:off x="738477" y="7913579"/>
            <a:ext cx="5997005" cy="1641918"/>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DE" sz="1200">
              <a:solidFill>
                <a:srgbClr val="FF0000"/>
              </a:solidFill>
              <a:effectLst/>
              <a:latin typeface="Sofia Sans" panose="020B0604020202020204" charset="0"/>
              <a:ea typeface="Times New Roman" panose="02020603050405020304" pitchFamily="18" charset="0"/>
            </a:endParaRPr>
          </a:p>
          <a:p>
            <a:pPr algn="ctr"/>
            <a:endParaRPr lang="de-DE" sz="1200">
              <a:solidFill>
                <a:srgbClr val="FF0000"/>
              </a:solidFill>
              <a:effectLst/>
              <a:latin typeface="Sofia Sans" panose="020B0604020202020204" charset="0"/>
              <a:ea typeface="Times New Roman" panose="02020603050405020304" pitchFamily="18" charset="0"/>
            </a:endParaRPr>
          </a:p>
          <a:p>
            <a:pPr algn="ctr"/>
            <a:r>
              <a:rPr lang="en-US" sz="1200" err="1">
                <a:solidFill>
                  <a:srgbClr val="FF0000"/>
                </a:solidFill>
                <a:effectLst/>
                <a:latin typeface="Sofia Sans"/>
                <a:ea typeface="Times New Roman" panose="02020603050405020304" pitchFamily="18" charset="0"/>
              </a:rPr>
              <a:t>P</a:t>
            </a:r>
            <a:r>
              <a:rPr lang="en-US" sz="1200" baseline="-25000" err="1">
                <a:solidFill>
                  <a:srgbClr val="FF0000"/>
                </a:solidFill>
                <a:effectLst/>
                <a:latin typeface="Sofia Sans"/>
                <a:ea typeface="Times New Roman" panose="02020603050405020304" pitchFamily="18" charset="0"/>
              </a:rPr>
              <a:t>eff</a:t>
            </a:r>
            <a:r>
              <a:rPr lang="en-US" sz="1200" baseline="-25000">
                <a:solidFill>
                  <a:srgbClr val="FF0000"/>
                </a:solidFill>
                <a:effectLst/>
                <a:latin typeface="Sofia Sans"/>
                <a:ea typeface="Times New Roman" panose="02020603050405020304" pitchFamily="18" charset="0"/>
              </a:rPr>
              <a:t> </a:t>
            </a:r>
            <a:r>
              <a:rPr lang="en-US" sz="1200">
                <a:solidFill>
                  <a:srgbClr val="FF0000"/>
                </a:solidFill>
                <a:effectLst/>
                <a:latin typeface="Sofia Sans"/>
                <a:ea typeface="Times New Roman" panose="02020603050405020304" pitchFamily="18" charset="0"/>
              </a:rPr>
              <a:t>​= </a:t>
            </a:r>
            <a:r>
              <a:rPr lang="en-US" sz="1200">
                <a:solidFill>
                  <a:srgbClr val="FF0000"/>
                </a:solidFill>
                <a:latin typeface="Sofia Sans"/>
                <a:ea typeface="Times New Roman" panose="02020603050405020304" pitchFamily="18" charset="0"/>
              </a:rPr>
              <a:t>100kWh </a:t>
            </a:r>
            <a:r>
              <a:rPr lang="en-US" sz="1200">
                <a:solidFill>
                  <a:srgbClr val="FF0000"/>
                </a:solidFill>
                <a:effectLst/>
                <a:latin typeface="Sofia Sans"/>
                <a:ea typeface="Times New Roman" panose="02020603050405020304" pitchFamily="18" charset="0"/>
              </a:rPr>
              <a:t>× cos(30</a:t>
            </a:r>
            <a:r>
              <a:rPr lang="en-US" sz="1200">
                <a:solidFill>
                  <a:srgbClr val="FF0000"/>
                </a:solidFill>
                <a:effectLst/>
                <a:latin typeface="Sofia Sans"/>
                <a:ea typeface="Times New Roman" panose="02020603050405020304" pitchFamily="18" charset="0"/>
                <a:cs typeface="Cambria Math" panose="02040503050406030204" pitchFamily="18" charset="0"/>
              </a:rPr>
              <a:t>∘</a:t>
            </a:r>
            <a:r>
              <a:rPr lang="en-US" sz="1200">
                <a:solidFill>
                  <a:srgbClr val="FF0000"/>
                </a:solidFill>
                <a:effectLst/>
                <a:latin typeface="Sofia Sans"/>
                <a:ea typeface="Times New Roman" panose="02020603050405020304" pitchFamily="18" charset="0"/>
              </a:rPr>
              <a:t>)=</a:t>
            </a:r>
            <a:r>
              <a:rPr lang="en-US" sz="1200">
                <a:solidFill>
                  <a:srgbClr val="FF0000"/>
                </a:solidFill>
                <a:latin typeface="Sofia Sans"/>
                <a:ea typeface="Times New Roman" panose="02020603050405020304" pitchFamily="18" charset="0"/>
              </a:rPr>
              <a:t>100×0.866=86.6kWh</a:t>
            </a:r>
            <a:endParaRPr lang="de-DE" sz="1200">
              <a:solidFill>
                <a:srgbClr val="FF0000"/>
              </a:solidFill>
              <a:effectLst/>
              <a:latin typeface="Sofia Sans"/>
              <a:ea typeface="Times New Roman" panose="02020603050405020304" pitchFamily="18" charset="0"/>
            </a:endParaRPr>
          </a:p>
          <a:p>
            <a:endParaRPr lang="de-DE" sz="1200">
              <a:solidFill>
                <a:srgbClr val="FF0000"/>
              </a:solidFill>
              <a:effectLst/>
              <a:latin typeface="Sofia Sans" panose="020B0604020202020204" charset="0"/>
              <a:ea typeface="Times New Roman" panose="02020603050405020304" pitchFamily="18" charset="0"/>
            </a:endParaRPr>
          </a:p>
        </p:txBody>
      </p:sp>
    </p:spTree>
    <p:extLst>
      <p:ext uri="{BB962C8B-B14F-4D97-AF65-F5344CB8AC3E}">
        <p14:creationId xmlns:p14="http://schemas.microsoft.com/office/powerpoint/2010/main" val="35752596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340394-DE83-A97A-EAF7-538A6C442D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think-cell data - do not delete" hidden="1">
                        <a:extLst>
                          <a:ext uri="{FF2B5EF4-FFF2-40B4-BE49-F238E27FC236}">
                            <a16:creationId xmlns:a16="http://schemas.microsoft.com/office/drawing/2014/main" id="{06340394-DE83-A97A-EAF7-538A6C442D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EE136A74-C883-D8B0-852C-F532C3D3DA8D}"/>
              </a:ext>
            </a:extLst>
          </p:cNvPr>
          <p:cNvSpPr>
            <a:spLocks noGrp="1"/>
          </p:cNvSpPr>
          <p:nvPr>
            <p:ph type="sldNum" sz="quarter" idx="4"/>
          </p:nvPr>
        </p:nvSpPr>
        <p:spPr/>
        <p:txBody>
          <a:bodyPr/>
          <a:lstStyle/>
          <a:p>
            <a:fld id="{DF7F771E-9578-4C04-B869-01AF4C35C90C}" type="slidenum">
              <a:rPr lang="de-DE" smtClean="0"/>
              <a:t>22</a:t>
            </a:fld>
            <a:endParaRPr lang="de-DE"/>
          </a:p>
        </p:txBody>
      </p:sp>
      <p:sp>
        <p:nvSpPr>
          <p:cNvPr id="3" name="Rechteck 2">
            <a:extLst>
              <a:ext uri="{FF2B5EF4-FFF2-40B4-BE49-F238E27FC236}">
                <a16:creationId xmlns:a16="http://schemas.microsoft.com/office/drawing/2014/main" id="{96DFDE4B-2022-0260-81B3-72EEA9E0E715}"/>
              </a:ext>
            </a:extLst>
          </p:cNvPr>
          <p:cNvSpPr/>
          <p:nvPr/>
        </p:nvSpPr>
        <p:spPr>
          <a:xfrm>
            <a:off x="719138" y="1596648"/>
            <a:ext cx="5740172" cy="3200435"/>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Ellipse 3">
            <a:extLst>
              <a:ext uri="{FF2B5EF4-FFF2-40B4-BE49-F238E27FC236}">
                <a16:creationId xmlns:a16="http://schemas.microsoft.com/office/drawing/2014/main" id="{0B0422F5-4D1F-10BF-88D9-DA95185B9D6D}"/>
              </a:ext>
            </a:extLst>
          </p:cNvPr>
          <p:cNvSpPr>
            <a:spLocks noChangeAspect="1"/>
          </p:cNvSpPr>
          <p:nvPr/>
        </p:nvSpPr>
        <p:spPr>
          <a:xfrm>
            <a:off x="6128978" y="1277938"/>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Lesezeichen mit einfarbiger Füllung">
            <a:extLst>
              <a:ext uri="{FF2B5EF4-FFF2-40B4-BE49-F238E27FC236}">
                <a16:creationId xmlns:a16="http://schemas.microsoft.com/office/drawing/2014/main" id="{5B62A27E-0BD9-F39E-EBE2-CCD0276457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56825" y="1405785"/>
            <a:ext cx="404450" cy="404450"/>
          </a:xfrm>
          <a:prstGeom prst="rect">
            <a:avLst/>
          </a:prstGeom>
        </p:spPr>
      </p:pic>
      <p:sp>
        <p:nvSpPr>
          <p:cNvPr id="6" name="Untertitel 5">
            <a:extLst>
              <a:ext uri="{FF2B5EF4-FFF2-40B4-BE49-F238E27FC236}">
                <a16:creationId xmlns:a16="http://schemas.microsoft.com/office/drawing/2014/main" id="{45F51A5E-394E-0B80-8290-699202992E68}"/>
              </a:ext>
            </a:extLst>
          </p:cNvPr>
          <p:cNvSpPr txBox="1">
            <a:spLocks/>
          </p:cNvSpPr>
          <p:nvPr/>
        </p:nvSpPr>
        <p:spPr>
          <a:xfrm>
            <a:off x="894164" y="169627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AU"/>
              <a:t>In summary</a:t>
            </a:r>
          </a:p>
        </p:txBody>
      </p:sp>
      <p:sp>
        <p:nvSpPr>
          <p:cNvPr id="7" name="Untertitel 2">
            <a:extLst>
              <a:ext uri="{FF2B5EF4-FFF2-40B4-BE49-F238E27FC236}">
                <a16:creationId xmlns:a16="http://schemas.microsoft.com/office/drawing/2014/main" id="{ADE3CB33-08E0-CB15-7F8E-E9C908BFE4B3}"/>
              </a:ext>
            </a:extLst>
          </p:cNvPr>
          <p:cNvSpPr txBox="1">
            <a:spLocks/>
          </p:cNvSpPr>
          <p:nvPr/>
        </p:nvSpPr>
        <p:spPr>
          <a:xfrm>
            <a:off x="1103983" y="2189701"/>
            <a:ext cx="4979684" cy="165258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pPr>
            <a:r>
              <a:rPr lang="en-US">
                <a:solidFill>
                  <a:schemeClr val="dk1"/>
                </a:solidFill>
                <a:latin typeface="Sofia Sans"/>
                <a:sym typeface="Sofia Sans"/>
              </a:rPr>
              <a:t>•	The angle of incidence is the angle between an incoming light-ray and the perpendicular to the surface it strikes, crucial for understanding how light interacts with surfaces in optics and solar energy applications.</a:t>
            </a:r>
          </a:p>
          <a:p>
            <a:pPr marL="457200" indent="-317500">
              <a:lnSpc>
                <a:spcPct val="115000"/>
              </a:lnSpc>
              <a:buClr>
                <a:schemeClr val="lt1"/>
              </a:buClr>
              <a:buSzPts val="1400"/>
            </a:pPr>
            <a:r>
              <a:rPr lang="en-US">
                <a:solidFill>
                  <a:schemeClr val="dk1"/>
                </a:solidFill>
                <a:latin typeface="Sofia Sans"/>
                <a:sym typeface="Sofia Sans"/>
              </a:rPr>
              <a:t>•	The efficiency of PV cells is highest when sunlight strikes perpendicularly, minimizing cosine losses and maximizing energy absorption.</a:t>
            </a:r>
          </a:p>
          <a:p>
            <a:pPr marL="457200" indent="-317500">
              <a:lnSpc>
                <a:spcPct val="115000"/>
              </a:lnSpc>
              <a:buClr>
                <a:schemeClr val="lt1"/>
              </a:buClr>
              <a:buSzPts val="1400"/>
            </a:pPr>
            <a:r>
              <a:rPr lang="en-US">
                <a:solidFill>
                  <a:schemeClr val="dk1"/>
                </a:solidFill>
                <a:latin typeface="Sofia Sans"/>
                <a:sym typeface="Sofia Sans"/>
              </a:rPr>
              <a:t>•	Cosine loss occurs as the angle of incidence increases, leading to a decrease in power output. This is calculated as proportional to the cosine of the angle of incidence, making 0° (direct sunlight) the most efficient angle.</a:t>
            </a:r>
          </a:p>
          <a:p>
            <a:endParaRPr lang="en-US"/>
          </a:p>
        </p:txBody>
      </p:sp>
    </p:spTree>
    <p:extLst>
      <p:ext uri="{BB962C8B-B14F-4D97-AF65-F5344CB8AC3E}">
        <p14:creationId xmlns:p14="http://schemas.microsoft.com/office/powerpoint/2010/main" val="2271628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63C20C8D-3474-51BF-9DDF-FE4018458527}"/>
              </a:ext>
            </a:extLst>
          </p:cNvPr>
          <p:cNvSpPr>
            <a:spLocks noGrp="1"/>
          </p:cNvSpPr>
          <p:nvPr>
            <p:ph type="sldNum" sz="quarter" idx="4"/>
          </p:nvPr>
        </p:nvSpPr>
        <p:spPr/>
        <p:txBody>
          <a:bodyPr/>
          <a:lstStyle/>
          <a:p>
            <a:fld id="{DF7F771E-9578-4C04-B869-01AF4C35C90C}" type="slidenum">
              <a:rPr lang="de-DE" smtClean="0"/>
              <a:t>23</a:t>
            </a:fld>
            <a:endParaRPr lang="de-DE"/>
          </a:p>
        </p:txBody>
      </p:sp>
      <p:sp>
        <p:nvSpPr>
          <p:cNvPr id="6" name="Titel 1">
            <a:extLst>
              <a:ext uri="{FF2B5EF4-FFF2-40B4-BE49-F238E27FC236}">
                <a16:creationId xmlns:a16="http://schemas.microsoft.com/office/drawing/2014/main" id="{60F93BB2-F5B1-2846-8761-A6A7CEDC011D}"/>
              </a:ext>
            </a:extLst>
          </p:cNvPr>
          <p:cNvSpPr>
            <a:spLocks noGrp="1"/>
          </p:cNvSpPr>
          <p:nvPr>
            <p:ph type="title"/>
          </p:nvPr>
        </p:nvSpPr>
        <p:spPr>
          <a:xfrm>
            <a:off x="589649" y="1121461"/>
            <a:ext cx="6380336" cy="636036"/>
          </a:xfrm>
        </p:spPr>
        <p:txBody>
          <a:bodyPr/>
          <a:lstStyle/>
          <a:p>
            <a:r>
              <a:rPr lang="de-DE"/>
              <a:t>3. Light </a:t>
            </a:r>
            <a:r>
              <a:rPr lang="de-DE" err="1"/>
              <a:t>intensity</a:t>
            </a:r>
            <a:endParaRPr lang="de-DE"/>
          </a:p>
        </p:txBody>
      </p:sp>
      <p:sp>
        <p:nvSpPr>
          <p:cNvPr id="8" name="Untertitel 3">
            <a:extLst>
              <a:ext uri="{FF2B5EF4-FFF2-40B4-BE49-F238E27FC236}">
                <a16:creationId xmlns:a16="http://schemas.microsoft.com/office/drawing/2014/main" id="{D27AED94-0BC5-9DF8-6696-1DD956FA90BB}"/>
              </a:ext>
            </a:extLst>
          </p:cNvPr>
          <p:cNvSpPr txBox="1">
            <a:spLocks/>
          </p:cNvSpPr>
          <p:nvPr/>
        </p:nvSpPr>
        <p:spPr>
          <a:xfrm>
            <a:off x="719138" y="1944537"/>
            <a:ext cx="5944509"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In this chapter you will find out how light intensity influences the performance of a PV module.</a:t>
            </a:r>
            <a:endParaRPr lang="de-DE" dirty="0"/>
          </a:p>
        </p:txBody>
      </p:sp>
      <p:sp>
        <p:nvSpPr>
          <p:cNvPr id="9" name="Untertitel 3">
            <a:extLst>
              <a:ext uri="{FF2B5EF4-FFF2-40B4-BE49-F238E27FC236}">
                <a16:creationId xmlns:a16="http://schemas.microsoft.com/office/drawing/2014/main" id="{B246C2F5-BE4C-5F96-0F24-9B601022E607}"/>
              </a:ext>
            </a:extLst>
          </p:cNvPr>
          <p:cNvSpPr txBox="1">
            <a:spLocks/>
          </p:cNvSpPr>
          <p:nvPr/>
        </p:nvSpPr>
        <p:spPr>
          <a:xfrm>
            <a:off x="730528" y="5700375"/>
            <a:ext cx="5740172" cy="19501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a:t>Follow these steps to conduct the experiment:</a:t>
            </a:r>
          </a:p>
          <a:p>
            <a:pPr>
              <a:buFont typeface="+mj-lt"/>
              <a:buAutoNum type="arabicPeriod"/>
            </a:pPr>
            <a:r>
              <a:rPr lang="en-US"/>
              <a:t>Place the lamp at a distance of 5 cm in front of the PV module.</a:t>
            </a:r>
          </a:p>
          <a:p>
            <a:pPr>
              <a:buFont typeface="+mj-lt"/>
              <a:buAutoNum type="arabicPeriod"/>
            </a:pPr>
            <a:r>
              <a:rPr lang="en-US"/>
              <a:t>Measure the open-circuit voltage (U) and the short-circuit current (I) of the PV module using the multimeter and enter your values in the table below.</a:t>
            </a:r>
          </a:p>
          <a:p>
            <a:pPr>
              <a:buFont typeface="+mj-lt"/>
              <a:buAutoNum type="arabicPeriod"/>
            </a:pPr>
            <a:r>
              <a:rPr lang="en-US"/>
              <a:t>Move the lamp 5 cm further away (total distance of 10 cm from the PV module), repeat the measurements for open-circuit voltage (U) and short-circuit current (I) and enter the new values in the table.</a:t>
            </a:r>
          </a:p>
          <a:p>
            <a:pPr>
              <a:buFont typeface="+mj-lt"/>
              <a:buAutoNum type="arabicPeriod"/>
            </a:pPr>
            <a:r>
              <a:rPr lang="en-US"/>
              <a:t>Repeat the experiment for a total distance of 15 and 20 cm to fill out the table.</a:t>
            </a:r>
          </a:p>
        </p:txBody>
      </p:sp>
      <p:sp>
        <p:nvSpPr>
          <p:cNvPr id="2" name="Untertitel 5">
            <a:extLst>
              <a:ext uri="{FF2B5EF4-FFF2-40B4-BE49-F238E27FC236}">
                <a16:creationId xmlns:a16="http://schemas.microsoft.com/office/drawing/2014/main" id="{28B6AC94-963F-967D-0C1E-B1E7DACEC081}"/>
              </a:ext>
            </a:extLst>
          </p:cNvPr>
          <p:cNvSpPr txBox="1">
            <a:spLocks/>
          </p:cNvSpPr>
          <p:nvPr/>
        </p:nvSpPr>
        <p:spPr>
          <a:xfrm>
            <a:off x="1104692" y="269477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3" name="Ellipse 2">
            <a:extLst>
              <a:ext uri="{FF2B5EF4-FFF2-40B4-BE49-F238E27FC236}">
                <a16:creationId xmlns:a16="http://schemas.microsoft.com/office/drawing/2014/main" id="{3F222E2E-862F-3AC8-D53A-56A49B5157B8}"/>
              </a:ext>
            </a:extLst>
          </p:cNvPr>
          <p:cNvSpPr>
            <a:spLocks noChangeAspect="1"/>
          </p:cNvSpPr>
          <p:nvPr/>
        </p:nvSpPr>
        <p:spPr>
          <a:xfrm>
            <a:off x="730528" y="266528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descr="Lupe mit einfarbiger Füllung">
            <a:extLst>
              <a:ext uri="{FF2B5EF4-FFF2-40B4-BE49-F238E27FC236}">
                <a16:creationId xmlns:a16="http://schemas.microsoft.com/office/drawing/2014/main" id="{29CA5C11-E7CC-86F8-9B0F-FA9F6AF7D39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601" y="2728961"/>
            <a:ext cx="333865" cy="333865"/>
          </a:xfrm>
          <a:prstGeom prst="rect">
            <a:avLst/>
          </a:prstGeom>
        </p:spPr>
      </p:pic>
      <p:sp>
        <p:nvSpPr>
          <p:cNvPr id="15" name="Rechteck 14">
            <a:extLst>
              <a:ext uri="{FF2B5EF4-FFF2-40B4-BE49-F238E27FC236}">
                <a16:creationId xmlns:a16="http://schemas.microsoft.com/office/drawing/2014/main" id="{32BE715E-0045-3BAB-80DC-7D864F91205F}"/>
              </a:ext>
            </a:extLst>
          </p:cNvPr>
          <p:cNvSpPr/>
          <p:nvPr/>
        </p:nvSpPr>
        <p:spPr>
          <a:xfrm>
            <a:off x="730528" y="3460703"/>
            <a:ext cx="5740172" cy="1909943"/>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Untertitel 2">
            <a:extLst>
              <a:ext uri="{FF2B5EF4-FFF2-40B4-BE49-F238E27FC236}">
                <a16:creationId xmlns:a16="http://schemas.microsoft.com/office/drawing/2014/main" id="{83461E4F-69CC-081B-9D4B-6C4CB2366BCA}"/>
              </a:ext>
            </a:extLst>
          </p:cNvPr>
          <p:cNvSpPr txBox="1">
            <a:spLocks/>
          </p:cNvSpPr>
          <p:nvPr/>
        </p:nvSpPr>
        <p:spPr>
          <a:xfrm>
            <a:off x="1110772" y="4009079"/>
            <a:ext cx="4979684" cy="100091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One Lamp, yellow light bulb</a:t>
            </a:r>
          </a:p>
          <a:p>
            <a:pPr>
              <a:buClrTx/>
              <a:buFont typeface="Arial" panose="020B0604020202020204" pitchFamily="34" charset="0"/>
              <a:buChar char="•"/>
            </a:pPr>
            <a:r>
              <a:rPr lang="en-US" sz="1150"/>
              <a:t>PV modules (small or big) </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Meter rule</a:t>
            </a:r>
          </a:p>
          <a:p>
            <a:pPr>
              <a:buClrTx/>
              <a:buFont typeface="Arial" panose="020B0604020202020204" pitchFamily="34" charset="0"/>
              <a:buChar char="•"/>
            </a:pPr>
            <a:r>
              <a:rPr lang="en-US" sz="1150"/>
              <a:t>Holder for PV panels</a:t>
            </a:r>
          </a:p>
          <a:p>
            <a:pPr>
              <a:buFont typeface="Arial" panose="020B0604020202020204" pitchFamily="34" charset="0"/>
              <a:buChar char="•"/>
            </a:pPr>
            <a:endParaRPr lang="en-US" sz="1150"/>
          </a:p>
        </p:txBody>
      </p:sp>
      <p:sp>
        <p:nvSpPr>
          <p:cNvPr id="17" name="Untertitel 5">
            <a:extLst>
              <a:ext uri="{FF2B5EF4-FFF2-40B4-BE49-F238E27FC236}">
                <a16:creationId xmlns:a16="http://schemas.microsoft.com/office/drawing/2014/main" id="{EB89F914-642F-24B1-28A2-D2117174A515}"/>
              </a:ext>
            </a:extLst>
          </p:cNvPr>
          <p:cNvSpPr txBox="1">
            <a:spLocks/>
          </p:cNvSpPr>
          <p:nvPr/>
        </p:nvSpPr>
        <p:spPr>
          <a:xfrm>
            <a:off x="892679" y="3603426"/>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18" name="Gruppieren 17">
            <a:extLst>
              <a:ext uri="{FF2B5EF4-FFF2-40B4-BE49-F238E27FC236}">
                <a16:creationId xmlns:a16="http://schemas.microsoft.com/office/drawing/2014/main" id="{8B8BEB97-99E3-6EAE-A069-96D761A07F4C}"/>
              </a:ext>
            </a:extLst>
          </p:cNvPr>
          <p:cNvGrpSpPr/>
          <p:nvPr/>
        </p:nvGrpSpPr>
        <p:grpSpPr>
          <a:xfrm>
            <a:off x="6273535" y="3236054"/>
            <a:ext cx="402475" cy="419630"/>
            <a:chOff x="6140368" y="3097011"/>
            <a:chExt cx="660145" cy="660145"/>
          </a:xfrm>
        </p:grpSpPr>
        <p:sp>
          <p:nvSpPr>
            <p:cNvPr id="19" name="Ellipse 18">
              <a:extLst>
                <a:ext uri="{FF2B5EF4-FFF2-40B4-BE49-F238E27FC236}">
                  <a16:creationId xmlns:a16="http://schemas.microsoft.com/office/drawing/2014/main" id="{2E21DAD7-9095-70C1-6FC5-203D42802BE0}"/>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descr="Inventar mit einfarbiger Füllung">
              <a:extLst>
                <a:ext uri="{FF2B5EF4-FFF2-40B4-BE49-F238E27FC236}">
                  <a16:creationId xmlns:a16="http://schemas.microsoft.com/office/drawing/2014/main" id="{9314C443-7CE7-23FA-EE66-2EFB2A0538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pic>
        <p:nvPicPr>
          <p:cNvPr id="22" name="Picture 1" descr="A light bulb with wires and measuring tape&#10;&#10;Description automatically generated">
            <a:extLst>
              <a:ext uri="{FF2B5EF4-FFF2-40B4-BE49-F238E27FC236}">
                <a16:creationId xmlns:a16="http://schemas.microsoft.com/office/drawing/2014/main" id="{6310E50D-4B13-A666-A526-96B443465DB1}"/>
              </a:ext>
            </a:extLst>
          </p:cNvPr>
          <p:cNvPicPr>
            <a:picLocks noChangeAspect="1"/>
          </p:cNvPicPr>
          <p:nvPr/>
        </p:nvPicPr>
        <p:blipFill rotWithShape="1">
          <a:blip r:embed="rId6"/>
          <a:srcRect l="5390" t="13279" r="24726"/>
          <a:stretch/>
        </p:blipFill>
        <p:spPr>
          <a:xfrm rot="5400000">
            <a:off x="2693018" y="7810879"/>
            <a:ext cx="2173597" cy="2022995"/>
          </a:xfrm>
          <a:prstGeom prst="rect">
            <a:avLst/>
          </a:prstGeom>
          <a:ln w="38100">
            <a:noFill/>
          </a:ln>
        </p:spPr>
      </p:pic>
    </p:spTree>
    <p:extLst>
      <p:ext uri="{BB962C8B-B14F-4D97-AF65-F5344CB8AC3E}">
        <p14:creationId xmlns:p14="http://schemas.microsoft.com/office/powerpoint/2010/main" val="39097161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E08FECA-0BAF-9D0E-C810-D24DA73619EB}"/>
              </a:ext>
            </a:extLst>
          </p:cNvPr>
          <p:cNvSpPr>
            <a:spLocks noGrp="1"/>
          </p:cNvSpPr>
          <p:nvPr>
            <p:ph type="sldNum" sz="quarter" idx="4"/>
          </p:nvPr>
        </p:nvSpPr>
        <p:spPr/>
        <p:txBody>
          <a:bodyPr/>
          <a:lstStyle/>
          <a:p>
            <a:fld id="{DF7F771E-9578-4C04-B869-01AF4C35C90C}" type="slidenum">
              <a:rPr lang="de-DE" smtClean="0"/>
              <a:t>24</a:t>
            </a:fld>
            <a:endParaRPr lang="de-DE"/>
          </a:p>
        </p:txBody>
      </p:sp>
      <p:sp>
        <p:nvSpPr>
          <p:cNvPr id="7" name="Untertitel 3">
            <a:extLst>
              <a:ext uri="{FF2B5EF4-FFF2-40B4-BE49-F238E27FC236}">
                <a16:creationId xmlns:a16="http://schemas.microsoft.com/office/drawing/2014/main" id="{DFE1BEB1-38CD-4064-71E1-D511C56F4B28}"/>
              </a:ext>
            </a:extLst>
          </p:cNvPr>
          <p:cNvSpPr txBox="1">
            <a:spLocks/>
          </p:cNvSpPr>
          <p:nvPr/>
        </p:nvSpPr>
        <p:spPr>
          <a:xfrm>
            <a:off x="719139" y="7543590"/>
            <a:ext cx="5437202"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dirty="0"/>
              <a:t>Discuss your answer with the other groups and your teacher</a:t>
            </a:r>
            <a:r>
              <a:rPr lang="en-US" b="1" dirty="0"/>
              <a:t>.</a:t>
            </a:r>
          </a:p>
        </p:txBody>
      </p:sp>
      <p:sp>
        <p:nvSpPr>
          <p:cNvPr id="16" name="Textfeld 11">
            <a:extLst>
              <a:ext uri="{FF2B5EF4-FFF2-40B4-BE49-F238E27FC236}">
                <a16:creationId xmlns:a16="http://schemas.microsoft.com/office/drawing/2014/main" id="{25CF9FEB-A7B2-4C30-75DE-2E2BE4E65800}"/>
              </a:ext>
            </a:extLst>
          </p:cNvPr>
          <p:cNvSpPr txBox="1"/>
          <p:nvPr/>
        </p:nvSpPr>
        <p:spPr>
          <a:xfrm>
            <a:off x="719139" y="5544692"/>
            <a:ext cx="5919009" cy="1443958"/>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effectLst/>
                <a:latin typeface="Times New Roman" panose="02020603050405020304" pitchFamily="18" charset="0"/>
                <a:ea typeface="Times New Roman" panose="02020603050405020304" pitchFamily="18" charset="0"/>
              </a:rPr>
              <a:t> </a:t>
            </a:r>
            <a:endParaRPr lang="de-DE" sz="1200">
              <a:effectLst/>
              <a:latin typeface="Times New Roman" panose="02020603050405020304" pitchFamily="18" charset="0"/>
              <a:ea typeface="Times New Roman" panose="02020603050405020304" pitchFamily="18" charset="0"/>
            </a:endParaRPr>
          </a:p>
        </p:txBody>
      </p:sp>
      <p:sp>
        <p:nvSpPr>
          <p:cNvPr id="17" name="Untertitel 5">
            <a:extLst>
              <a:ext uri="{FF2B5EF4-FFF2-40B4-BE49-F238E27FC236}">
                <a16:creationId xmlns:a16="http://schemas.microsoft.com/office/drawing/2014/main" id="{A1DA638C-3576-CC1A-D5CB-CBBEC195DF20}"/>
              </a:ext>
            </a:extLst>
          </p:cNvPr>
          <p:cNvSpPr txBox="1">
            <a:spLocks/>
          </p:cNvSpPr>
          <p:nvPr/>
        </p:nvSpPr>
        <p:spPr>
          <a:xfrm>
            <a:off x="719139" y="713992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2</a:t>
            </a:r>
          </a:p>
        </p:txBody>
      </p:sp>
      <p:sp>
        <p:nvSpPr>
          <p:cNvPr id="4" name="Untertitel 5">
            <a:extLst>
              <a:ext uri="{FF2B5EF4-FFF2-40B4-BE49-F238E27FC236}">
                <a16:creationId xmlns:a16="http://schemas.microsoft.com/office/drawing/2014/main" id="{65225BAC-3228-82DF-FB4D-B9DE3798257A}"/>
              </a:ext>
            </a:extLst>
          </p:cNvPr>
          <p:cNvSpPr txBox="1">
            <a:spLocks/>
          </p:cNvSpPr>
          <p:nvPr/>
        </p:nvSpPr>
        <p:spPr>
          <a:xfrm>
            <a:off x="1149170" y="346482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5" name="Ellipse 4">
            <a:extLst>
              <a:ext uri="{FF2B5EF4-FFF2-40B4-BE49-F238E27FC236}">
                <a16:creationId xmlns:a16="http://schemas.microsoft.com/office/drawing/2014/main" id="{D0CEC529-314F-EFF7-E7E9-6FC7257698FB}"/>
              </a:ext>
            </a:extLst>
          </p:cNvPr>
          <p:cNvSpPr>
            <a:spLocks noChangeAspect="1"/>
          </p:cNvSpPr>
          <p:nvPr/>
        </p:nvSpPr>
        <p:spPr>
          <a:xfrm>
            <a:off x="730529" y="3458893"/>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Skizze mit einfarbiger Füllung">
            <a:extLst>
              <a:ext uri="{FF2B5EF4-FFF2-40B4-BE49-F238E27FC236}">
                <a16:creationId xmlns:a16="http://schemas.microsoft.com/office/drawing/2014/main" id="{77E88C38-35E4-AEB1-792A-ECAD567FF0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5006" y="3522625"/>
            <a:ext cx="379044" cy="379044"/>
          </a:xfrm>
          <a:prstGeom prst="rect">
            <a:avLst/>
          </a:prstGeom>
        </p:spPr>
      </p:pic>
      <p:sp>
        <p:nvSpPr>
          <p:cNvPr id="8" name="Untertitel 3">
            <a:extLst>
              <a:ext uri="{FF2B5EF4-FFF2-40B4-BE49-F238E27FC236}">
                <a16:creationId xmlns:a16="http://schemas.microsoft.com/office/drawing/2014/main" id="{DAF85E11-CE5A-A22E-E50F-181B526F63F8}"/>
              </a:ext>
            </a:extLst>
          </p:cNvPr>
          <p:cNvSpPr txBox="1">
            <a:spLocks/>
          </p:cNvSpPr>
          <p:nvPr/>
        </p:nvSpPr>
        <p:spPr>
          <a:xfrm>
            <a:off x="724833" y="4443430"/>
            <a:ext cx="5944510"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Reflect on what you have just observed and the data you have collected. Answer the following question in the space below: What is the relation between the distance of the lamp from the PV module (i.e., the intensity of the light) and the functioning of the PV module (i.e., the current and voltage generated)?</a:t>
            </a:r>
          </a:p>
        </p:txBody>
      </p:sp>
      <p:sp>
        <p:nvSpPr>
          <p:cNvPr id="9" name="Untertitel 5">
            <a:extLst>
              <a:ext uri="{FF2B5EF4-FFF2-40B4-BE49-F238E27FC236}">
                <a16:creationId xmlns:a16="http://schemas.microsoft.com/office/drawing/2014/main" id="{0564C0B3-E5A9-D742-2FDB-4DFD75611B5A}"/>
              </a:ext>
            </a:extLst>
          </p:cNvPr>
          <p:cNvSpPr txBox="1">
            <a:spLocks/>
          </p:cNvSpPr>
          <p:nvPr/>
        </p:nvSpPr>
        <p:spPr>
          <a:xfrm>
            <a:off x="719138" y="405378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1</a:t>
            </a:r>
          </a:p>
        </p:txBody>
      </p:sp>
      <p:graphicFrame>
        <p:nvGraphicFramePr>
          <p:cNvPr id="2" name="Google Shape;630;p38">
            <a:extLst>
              <a:ext uri="{FF2B5EF4-FFF2-40B4-BE49-F238E27FC236}">
                <a16:creationId xmlns:a16="http://schemas.microsoft.com/office/drawing/2014/main" id="{B7E41CB6-21CE-1FB2-6EC8-E976C75FDBEF}"/>
              </a:ext>
            </a:extLst>
          </p:cNvPr>
          <p:cNvGraphicFramePr/>
          <p:nvPr>
            <p:extLst>
              <p:ext uri="{D42A27DB-BD31-4B8C-83A1-F6EECF244321}">
                <p14:modId xmlns:p14="http://schemas.microsoft.com/office/powerpoint/2010/main" val="728558521"/>
              </p:ext>
            </p:extLst>
          </p:nvPr>
        </p:nvGraphicFramePr>
        <p:xfrm>
          <a:off x="719138" y="1286809"/>
          <a:ext cx="5919009" cy="1686768"/>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Distance</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I</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marR="0" lvl="0" indent="0" algn="ctr" rtl="0">
                        <a:lnSpc>
                          <a:spcPct val="115000"/>
                        </a:lnSpc>
                        <a:spcBef>
                          <a:spcPts val="0"/>
                        </a:spcBef>
                        <a:spcAft>
                          <a:spcPts val="0"/>
                        </a:spcAft>
                        <a:buClr>
                          <a:srgbClr val="000000"/>
                        </a:buClr>
                        <a:buFont typeface="Arial"/>
                        <a:buNone/>
                      </a:pPr>
                      <a:r>
                        <a:rPr lang="de-DE" sz="1157" b="0" i="0" u="none" strike="noStrike" cap="none">
                          <a:solidFill>
                            <a:srgbClr val="000000"/>
                          </a:solidFill>
                          <a:effectLst/>
                          <a:latin typeface="Arial"/>
                          <a:ea typeface="Sofia Sans"/>
                          <a:cs typeface="Arial"/>
                          <a:sym typeface="Sofia Sans"/>
                        </a:rPr>
                        <a:t>5 cm</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en-US" sz="1157" b="0" i="0" u="none" strike="noStrike" cap="none">
                          <a:solidFill>
                            <a:srgbClr val="000000"/>
                          </a:solidFill>
                          <a:effectLst/>
                          <a:latin typeface="Arial"/>
                          <a:ea typeface="Arial"/>
                          <a:cs typeface="Arial"/>
                          <a:sym typeface="Arial"/>
                        </a:rPr>
                        <a:t>10 cm</a:t>
                      </a: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en-US" sz="1157" b="0" i="0" u="none" strike="noStrike" cap="none">
                          <a:solidFill>
                            <a:srgbClr val="000000"/>
                          </a:solidFill>
                          <a:effectLst/>
                          <a:latin typeface="Arial"/>
                          <a:ea typeface="Arial"/>
                          <a:cs typeface="Arial"/>
                          <a:sym typeface="Arial"/>
                        </a:rPr>
                        <a:t>15 cm</a:t>
                      </a: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752982118"/>
                  </a:ext>
                </a:extLst>
              </a:tr>
              <a:tr h="325711">
                <a:tc>
                  <a:txBody>
                    <a:bodyPr/>
                    <a:lstStyle/>
                    <a:p>
                      <a:pPr marL="0" lvl="0" indent="0" algn="ctr" rtl="0">
                        <a:lnSpc>
                          <a:spcPct val="115000"/>
                        </a:lnSpc>
                        <a:spcBef>
                          <a:spcPts val="0"/>
                        </a:spcBef>
                        <a:spcAft>
                          <a:spcPts val="0"/>
                        </a:spcAft>
                        <a:buNone/>
                      </a:pPr>
                      <a:r>
                        <a:rPr lang="en-US" sz="1157" b="0" i="0" u="none" strike="noStrike" cap="none">
                          <a:solidFill>
                            <a:srgbClr val="000000"/>
                          </a:solidFill>
                          <a:effectLst/>
                          <a:latin typeface="Arial"/>
                          <a:ea typeface="Arial"/>
                          <a:cs typeface="Arial"/>
                          <a:sym typeface="Arial"/>
                        </a:rPr>
                        <a:t>20 cm </a:t>
                      </a: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3281598"/>
                  </a:ext>
                </a:extLst>
              </a:tr>
            </a:tbl>
          </a:graphicData>
        </a:graphic>
      </p:graphicFrame>
      <p:sp>
        <p:nvSpPr>
          <p:cNvPr id="10" name="Textfeld 11">
            <a:extLst>
              <a:ext uri="{FF2B5EF4-FFF2-40B4-BE49-F238E27FC236}">
                <a16:creationId xmlns:a16="http://schemas.microsoft.com/office/drawing/2014/main" id="{E941A15C-2F31-8393-3848-1BE4548A1AE7}"/>
              </a:ext>
            </a:extLst>
          </p:cNvPr>
          <p:cNvSpPr txBox="1"/>
          <p:nvPr/>
        </p:nvSpPr>
        <p:spPr>
          <a:xfrm>
            <a:off x="719137" y="8113503"/>
            <a:ext cx="5919009" cy="1443958"/>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effectLst/>
                <a:latin typeface="Times New Roman" panose="02020603050405020304" pitchFamily="18" charset="0"/>
                <a:ea typeface="Times New Roman" panose="02020603050405020304" pitchFamily="18" charset="0"/>
              </a:rPr>
              <a:t> </a:t>
            </a:r>
            <a:endParaRPr lang="de-DE" sz="1200">
              <a:effectLst/>
              <a:latin typeface="Times New Roman" panose="02020603050405020304" pitchFamily="18" charset="0"/>
              <a:ea typeface="Times New Roman" panose="02020603050405020304" pitchFamily="18" charset="0"/>
            </a:endParaRPr>
          </a:p>
        </p:txBody>
      </p:sp>
      <p:sp>
        <p:nvSpPr>
          <p:cNvPr id="11" name="Textfeld 10">
            <a:extLst>
              <a:ext uri="{FF2B5EF4-FFF2-40B4-BE49-F238E27FC236}">
                <a16:creationId xmlns:a16="http://schemas.microsoft.com/office/drawing/2014/main" id="{7B21CA7A-FE83-B48E-C92F-C73E7A2BE9DC}"/>
              </a:ext>
            </a:extLst>
          </p:cNvPr>
          <p:cNvSpPr txBox="1"/>
          <p:nvPr/>
        </p:nvSpPr>
        <p:spPr>
          <a:xfrm>
            <a:off x="775006" y="5703239"/>
            <a:ext cx="5863140" cy="1109663"/>
          </a:xfrm>
          <a:prstGeom prst="rect">
            <a:avLst/>
          </a:prstGeom>
          <a:noFill/>
        </p:spPr>
        <p:txBody>
          <a:bodyPr wrap="square" rtlCol="0">
            <a:spAutoFit/>
          </a:bodyPr>
          <a:lstStyle/>
          <a:p>
            <a:pPr marL="457200" indent="-317500">
              <a:lnSpc>
                <a:spcPct val="115000"/>
              </a:lnSpc>
              <a:buClr>
                <a:schemeClr val="lt1"/>
              </a:buClr>
              <a:buSzPts val="1400"/>
            </a:pPr>
            <a:r>
              <a:rPr lang="en-US" sz="1157">
                <a:solidFill>
                  <a:srgbClr val="FF0000"/>
                </a:solidFill>
                <a:latin typeface="Sofia Sans"/>
                <a:sym typeface="Sofia Sans"/>
              </a:rPr>
              <a:t>From this experiment, you should observe that the performance of the PV module, particularly the current generation, decreases as the distance from the light source increases. This demonstrates the importance of light intensity in the efficiency of PV cells. The voltage is less affected but still shows a downward trend with increasing distance. </a:t>
            </a:r>
            <a:endParaRPr lang="de-DE" sz="1157">
              <a:solidFill>
                <a:srgbClr val="FF0000"/>
              </a:solidFill>
              <a:latin typeface="Sofia Sans"/>
              <a:sym typeface="Sofia Sans"/>
            </a:endParaRPr>
          </a:p>
        </p:txBody>
      </p:sp>
    </p:spTree>
    <p:extLst>
      <p:ext uri="{BB962C8B-B14F-4D97-AF65-F5344CB8AC3E}">
        <p14:creationId xmlns:p14="http://schemas.microsoft.com/office/powerpoint/2010/main" val="18368074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3EADC42C-A4E1-826A-55AB-7288301262B7}"/>
              </a:ext>
            </a:extLst>
          </p:cNvPr>
          <p:cNvSpPr>
            <a:spLocks noGrp="1"/>
          </p:cNvSpPr>
          <p:nvPr>
            <p:ph type="sldNum" sz="quarter" idx="4"/>
          </p:nvPr>
        </p:nvSpPr>
        <p:spPr/>
        <p:txBody>
          <a:bodyPr/>
          <a:lstStyle/>
          <a:p>
            <a:fld id="{DF7F771E-9578-4C04-B869-01AF4C35C90C}" type="slidenum">
              <a:rPr lang="de-DE" smtClean="0"/>
              <a:t>25</a:t>
            </a:fld>
            <a:endParaRPr lang="de-DE"/>
          </a:p>
        </p:txBody>
      </p:sp>
      <p:sp>
        <p:nvSpPr>
          <p:cNvPr id="2" name="Rechteck 1">
            <a:extLst>
              <a:ext uri="{FF2B5EF4-FFF2-40B4-BE49-F238E27FC236}">
                <a16:creationId xmlns:a16="http://schemas.microsoft.com/office/drawing/2014/main" id="{DA0F32F7-048E-8B2D-2F19-D31B0BC24BFD}"/>
              </a:ext>
            </a:extLst>
          </p:cNvPr>
          <p:cNvSpPr/>
          <p:nvPr/>
        </p:nvSpPr>
        <p:spPr>
          <a:xfrm>
            <a:off x="719138" y="4579546"/>
            <a:ext cx="5740172" cy="4057532"/>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Ellipse 3">
            <a:extLst>
              <a:ext uri="{FF2B5EF4-FFF2-40B4-BE49-F238E27FC236}">
                <a16:creationId xmlns:a16="http://schemas.microsoft.com/office/drawing/2014/main" id="{51B49B18-52FE-6DAD-B12C-EB0F536E60AC}"/>
              </a:ext>
            </a:extLst>
          </p:cNvPr>
          <p:cNvSpPr>
            <a:spLocks noChangeAspect="1"/>
          </p:cNvSpPr>
          <p:nvPr/>
        </p:nvSpPr>
        <p:spPr>
          <a:xfrm>
            <a:off x="6128978" y="4260836"/>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Lesezeichen mit einfarbiger Füllung">
            <a:extLst>
              <a:ext uri="{FF2B5EF4-FFF2-40B4-BE49-F238E27FC236}">
                <a16:creationId xmlns:a16="http://schemas.microsoft.com/office/drawing/2014/main" id="{882F8B24-4E2A-4A04-24A1-8291B7A8F4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4388683"/>
            <a:ext cx="404450" cy="404450"/>
          </a:xfrm>
          <a:prstGeom prst="rect">
            <a:avLst/>
          </a:prstGeom>
        </p:spPr>
      </p:pic>
      <p:sp>
        <p:nvSpPr>
          <p:cNvPr id="6" name="Untertitel 5">
            <a:extLst>
              <a:ext uri="{FF2B5EF4-FFF2-40B4-BE49-F238E27FC236}">
                <a16:creationId xmlns:a16="http://schemas.microsoft.com/office/drawing/2014/main" id="{13A210D9-DD05-4BBD-8028-E58870975FD0}"/>
              </a:ext>
            </a:extLst>
          </p:cNvPr>
          <p:cNvSpPr txBox="1">
            <a:spLocks/>
          </p:cNvSpPr>
          <p:nvPr/>
        </p:nvSpPr>
        <p:spPr>
          <a:xfrm>
            <a:off x="894164" y="4679171"/>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latin typeface="Epilogue" panose="020B0604020202020204" charset="0"/>
              </a:rPr>
              <a:t>In </a:t>
            </a:r>
            <a:r>
              <a:rPr lang="de-DE" err="1">
                <a:latin typeface="Epilogue" panose="020B0604020202020204" charset="0"/>
              </a:rPr>
              <a:t>summary</a:t>
            </a:r>
            <a:endParaRPr lang="de-DE">
              <a:latin typeface="Epilogue" panose="020B0604020202020204" charset="0"/>
            </a:endParaRPr>
          </a:p>
        </p:txBody>
      </p:sp>
      <p:sp>
        <p:nvSpPr>
          <p:cNvPr id="7" name="Untertitel 2">
            <a:extLst>
              <a:ext uri="{FF2B5EF4-FFF2-40B4-BE49-F238E27FC236}">
                <a16:creationId xmlns:a16="http://schemas.microsoft.com/office/drawing/2014/main" id="{445954A8-C01A-1FA5-60FA-79BDFA9D6B3E}"/>
              </a:ext>
            </a:extLst>
          </p:cNvPr>
          <p:cNvSpPr txBox="1">
            <a:spLocks/>
          </p:cNvSpPr>
          <p:nvPr/>
        </p:nvSpPr>
        <p:spPr>
          <a:xfrm>
            <a:off x="1103983" y="5172600"/>
            <a:ext cx="4979684" cy="214469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pPr>
            <a:r>
              <a:rPr lang="en-US">
                <a:solidFill>
                  <a:schemeClr val="dk1"/>
                </a:solidFill>
                <a:latin typeface="Sofia Sans" panose="020B0604020202020204" charset="0"/>
                <a:sym typeface="Sofia Sans"/>
              </a:rPr>
              <a:t>•	Light intensity, measured in watts per square meter, describes the radiant energy hitting a surface per unit area, directly influencing the electrical output of  PV modules.</a:t>
            </a:r>
          </a:p>
          <a:p>
            <a:pPr marL="457200" indent="-317500">
              <a:lnSpc>
                <a:spcPct val="115000"/>
              </a:lnSpc>
              <a:buClr>
                <a:schemeClr val="lt1"/>
              </a:buClr>
              <a:buSzPts val="1400"/>
            </a:pPr>
            <a:r>
              <a:rPr lang="en-US">
                <a:solidFill>
                  <a:schemeClr val="dk1"/>
                </a:solidFill>
                <a:latin typeface="Sofia Sans" panose="020B0604020202020204" charset="0"/>
                <a:sym typeface="Sofia Sans"/>
              </a:rPr>
              <a:t>•	As the distance from a light source increase, light intensity decreases, leading to a reduction in both open-circuit voltage and short-circuit current of PV modules, with a more pronounced effect on current due to its higher sensitivity to light intensity changes.</a:t>
            </a:r>
          </a:p>
          <a:p>
            <a:pPr marL="457200" indent="-317500">
              <a:lnSpc>
                <a:spcPct val="115000"/>
              </a:lnSpc>
              <a:buClr>
                <a:schemeClr val="lt1"/>
              </a:buClr>
              <a:buSzPts val="1400"/>
            </a:pPr>
            <a:r>
              <a:rPr lang="en-US">
                <a:solidFill>
                  <a:schemeClr val="dk1"/>
                </a:solidFill>
                <a:latin typeface="Sofia Sans" panose="020B0604020202020204" charset="0"/>
                <a:sym typeface="Sofia Sans"/>
              </a:rPr>
              <a:t>•	Understanding and optimizing light intensity is crucial for the design and efficiency of solar panels, as it affects the amount of energy converted from light to electricity.</a:t>
            </a:r>
          </a:p>
          <a:p>
            <a:pPr marL="457200" indent="-317500">
              <a:lnSpc>
                <a:spcPct val="115000"/>
              </a:lnSpc>
              <a:buClr>
                <a:schemeClr val="lt1"/>
              </a:buClr>
              <a:buSzPts val="1400"/>
            </a:pPr>
            <a:endParaRPr lang="en-US">
              <a:latin typeface="Sofia Sans" panose="020B0604020202020204" charset="0"/>
            </a:endParaRPr>
          </a:p>
        </p:txBody>
      </p:sp>
      <p:sp>
        <p:nvSpPr>
          <p:cNvPr id="11" name="Untertitel 5">
            <a:extLst>
              <a:ext uri="{FF2B5EF4-FFF2-40B4-BE49-F238E27FC236}">
                <a16:creationId xmlns:a16="http://schemas.microsoft.com/office/drawing/2014/main" id="{9E80D16F-F297-6B5B-15A6-A13442F93D0C}"/>
              </a:ext>
            </a:extLst>
          </p:cNvPr>
          <p:cNvSpPr txBox="1">
            <a:spLocks/>
          </p:cNvSpPr>
          <p:nvPr/>
        </p:nvSpPr>
        <p:spPr>
          <a:xfrm>
            <a:off x="890237" y="7386645"/>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latin typeface="Epilogue" panose="020B0604020202020204" charset="0"/>
              </a:rPr>
              <a:t>Definitions</a:t>
            </a:r>
            <a:endParaRPr lang="de-DE">
              <a:latin typeface="Epilogue" panose="020B0604020202020204" charset="0"/>
            </a:endParaRPr>
          </a:p>
        </p:txBody>
      </p:sp>
      <p:sp>
        <p:nvSpPr>
          <p:cNvPr id="12" name="Untertitel 2">
            <a:extLst>
              <a:ext uri="{FF2B5EF4-FFF2-40B4-BE49-F238E27FC236}">
                <a16:creationId xmlns:a16="http://schemas.microsoft.com/office/drawing/2014/main" id="{D98AF8AF-3600-D5A6-E0F7-343717CEDCCA}"/>
              </a:ext>
            </a:extLst>
          </p:cNvPr>
          <p:cNvSpPr txBox="1">
            <a:spLocks/>
          </p:cNvSpPr>
          <p:nvPr/>
        </p:nvSpPr>
        <p:spPr>
          <a:xfrm>
            <a:off x="1100056" y="7880074"/>
            <a:ext cx="4979684" cy="68765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139700">
              <a:lnSpc>
                <a:spcPct val="115000"/>
              </a:lnSpc>
              <a:buClr>
                <a:schemeClr val="lt1"/>
              </a:buClr>
              <a:buSzPts val="1400"/>
            </a:pPr>
            <a:r>
              <a:rPr lang="en-US" dirty="0">
                <a:solidFill>
                  <a:schemeClr val="dk1"/>
                </a:solidFill>
                <a:latin typeface="Sofia Sans"/>
                <a:sym typeface="Sofia Sans"/>
              </a:rPr>
              <a:t>Light intensity: The light intensity (𝐼) describes the radiant energy (𝑊) that hits a surface (𝐴) perpendicularly in the time (𝑡).</a:t>
            </a:r>
          </a:p>
        </p:txBody>
      </p:sp>
      <p:sp>
        <p:nvSpPr>
          <p:cNvPr id="8" name="Untertitel 3">
            <a:extLst>
              <a:ext uri="{FF2B5EF4-FFF2-40B4-BE49-F238E27FC236}">
                <a16:creationId xmlns:a16="http://schemas.microsoft.com/office/drawing/2014/main" id="{43A4FA72-DA4E-C214-42C9-E0DC46156CB4}"/>
              </a:ext>
            </a:extLst>
          </p:cNvPr>
          <p:cNvSpPr txBox="1">
            <a:spLocks/>
          </p:cNvSpPr>
          <p:nvPr/>
        </p:nvSpPr>
        <p:spPr>
          <a:xfrm>
            <a:off x="745772" y="2214002"/>
            <a:ext cx="5919009" cy="184589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The _______________(greater/lower) the light intensity, i.e. the _______________ (greater/lower) the distance of the light source from the PV module, the lower the_____________________ and the ______________________. However, the influence on the short-circuit current (I) is significantly __________________(greater/lower) than the influence on the open-circuit voltage (U). The light intensity therefore has a considerable influence on the functioning of the _____________________.</a:t>
            </a:r>
          </a:p>
        </p:txBody>
      </p:sp>
      <p:sp>
        <p:nvSpPr>
          <p:cNvPr id="9" name="Untertitel 3">
            <a:extLst>
              <a:ext uri="{FF2B5EF4-FFF2-40B4-BE49-F238E27FC236}">
                <a16:creationId xmlns:a16="http://schemas.microsoft.com/office/drawing/2014/main" id="{ACA1C945-E38B-6F05-E0AC-3472D1AC0A6B}"/>
              </a:ext>
            </a:extLst>
          </p:cNvPr>
          <p:cNvSpPr txBox="1">
            <a:spLocks/>
          </p:cNvSpPr>
          <p:nvPr/>
        </p:nvSpPr>
        <p:spPr>
          <a:xfrm>
            <a:off x="731547" y="1693992"/>
            <a:ext cx="5437202"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a:t>Fill in the blanks.</a:t>
            </a:r>
          </a:p>
        </p:txBody>
      </p:sp>
      <p:sp>
        <p:nvSpPr>
          <p:cNvPr id="10" name="Untertitel 5">
            <a:extLst>
              <a:ext uri="{FF2B5EF4-FFF2-40B4-BE49-F238E27FC236}">
                <a16:creationId xmlns:a16="http://schemas.microsoft.com/office/drawing/2014/main" id="{8D25FB4C-202F-42DE-D026-2D808FF15AF3}"/>
              </a:ext>
            </a:extLst>
          </p:cNvPr>
          <p:cNvSpPr txBox="1">
            <a:spLocks/>
          </p:cNvSpPr>
          <p:nvPr/>
        </p:nvSpPr>
        <p:spPr>
          <a:xfrm>
            <a:off x="731547" y="129032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3</a:t>
            </a:r>
          </a:p>
        </p:txBody>
      </p:sp>
      <p:sp>
        <p:nvSpPr>
          <p:cNvPr id="14" name="Textfeld 13">
            <a:extLst>
              <a:ext uri="{FF2B5EF4-FFF2-40B4-BE49-F238E27FC236}">
                <a16:creationId xmlns:a16="http://schemas.microsoft.com/office/drawing/2014/main" id="{C13F3D2D-0DFD-F118-425E-D1A876935639}"/>
              </a:ext>
            </a:extLst>
          </p:cNvPr>
          <p:cNvSpPr txBox="1"/>
          <p:nvPr/>
        </p:nvSpPr>
        <p:spPr>
          <a:xfrm>
            <a:off x="1390926" y="2215719"/>
            <a:ext cx="701002" cy="290464"/>
          </a:xfrm>
          <a:prstGeom prst="rect">
            <a:avLst/>
          </a:prstGeom>
          <a:noFill/>
        </p:spPr>
        <p:txBody>
          <a:bodyPr wrap="square" rtlCol="0">
            <a:spAutoFit/>
          </a:bodyPr>
          <a:lstStyle/>
          <a:p>
            <a:pPr marL="457200" indent="-317500">
              <a:lnSpc>
                <a:spcPct val="115000"/>
              </a:lnSpc>
              <a:buClr>
                <a:schemeClr val="lt1"/>
              </a:buClr>
              <a:buSzPts val="1400"/>
            </a:pPr>
            <a:r>
              <a:rPr lang="en-US" sz="1157">
                <a:solidFill>
                  <a:srgbClr val="FF0000"/>
                </a:solidFill>
                <a:latin typeface="Sofia Sans"/>
                <a:sym typeface="Sofia Sans"/>
              </a:rPr>
              <a:t>lower</a:t>
            </a:r>
            <a:endParaRPr lang="de-DE" sz="1157">
              <a:solidFill>
                <a:srgbClr val="FF0000"/>
              </a:solidFill>
              <a:latin typeface="Sofia Sans"/>
              <a:sym typeface="Sofia Sans"/>
            </a:endParaRPr>
          </a:p>
        </p:txBody>
      </p:sp>
      <p:sp>
        <p:nvSpPr>
          <p:cNvPr id="15" name="Textfeld 14">
            <a:extLst>
              <a:ext uri="{FF2B5EF4-FFF2-40B4-BE49-F238E27FC236}">
                <a16:creationId xmlns:a16="http://schemas.microsoft.com/office/drawing/2014/main" id="{52B71FF0-A332-05DA-FBAC-6D4E7CC4BBAE}"/>
              </a:ext>
            </a:extLst>
          </p:cNvPr>
          <p:cNvSpPr txBox="1"/>
          <p:nvPr/>
        </p:nvSpPr>
        <p:spPr>
          <a:xfrm>
            <a:off x="5058513" y="2214002"/>
            <a:ext cx="962493" cy="290464"/>
          </a:xfrm>
          <a:prstGeom prst="rect">
            <a:avLst/>
          </a:prstGeom>
          <a:noFill/>
        </p:spPr>
        <p:txBody>
          <a:bodyPr wrap="square" rtlCol="0">
            <a:spAutoFit/>
          </a:bodyPr>
          <a:lstStyle/>
          <a:p>
            <a:pPr marL="457200" indent="-317500">
              <a:lnSpc>
                <a:spcPct val="115000"/>
              </a:lnSpc>
              <a:buClr>
                <a:schemeClr val="lt1"/>
              </a:buClr>
              <a:buSzPts val="1400"/>
            </a:pPr>
            <a:r>
              <a:rPr lang="en-US" sz="1157">
                <a:solidFill>
                  <a:srgbClr val="FF0000"/>
                </a:solidFill>
                <a:latin typeface="Sofia Sans"/>
                <a:sym typeface="Sofia Sans"/>
              </a:rPr>
              <a:t>greater</a:t>
            </a:r>
            <a:endParaRPr lang="de-DE" sz="1157">
              <a:solidFill>
                <a:srgbClr val="FF0000"/>
              </a:solidFill>
              <a:latin typeface="Sofia Sans"/>
              <a:sym typeface="Sofia Sans"/>
            </a:endParaRPr>
          </a:p>
        </p:txBody>
      </p:sp>
      <p:sp>
        <p:nvSpPr>
          <p:cNvPr id="16" name="Textfeld 15">
            <a:extLst>
              <a:ext uri="{FF2B5EF4-FFF2-40B4-BE49-F238E27FC236}">
                <a16:creationId xmlns:a16="http://schemas.microsoft.com/office/drawing/2014/main" id="{90814D45-C2A7-EADE-83CE-4FE655CE06B6}"/>
              </a:ext>
            </a:extLst>
          </p:cNvPr>
          <p:cNvSpPr txBox="1"/>
          <p:nvPr/>
        </p:nvSpPr>
        <p:spPr>
          <a:xfrm>
            <a:off x="1390926" y="2642342"/>
            <a:ext cx="1848664" cy="290464"/>
          </a:xfrm>
          <a:prstGeom prst="rect">
            <a:avLst/>
          </a:prstGeom>
          <a:noFill/>
        </p:spPr>
        <p:txBody>
          <a:bodyPr wrap="square" rtlCol="0">
            <a:spAutoFit/>
          </a:bodyPr>
          <a:lstStyle/>
          <a:p>
            <a:pPr marL="457200" indent="-317500">
              <a:lnSpc>
                <a:spcPct val="115000"/>
              </a:lnSpc>
              <a:buClr>
                <a:schemeClr val="lt1"/>
              </a:buClr>
              <a:buSzPts val="1400"/>
            </a:pPr>
            <a:r>
              <a:rPr lang="en-US" sz="1157">
                <a:solidFill>
                  <a:srgbClr val="FF0000"/>
                </a:solidFill>
                <a:latin typeface="Sofia Sans"/>
                <a:sym typeface="Sofia Sans"/>
              </a:rPr>
              <a:t>open-circuit voltage I</a:t>
            </a:r>
            <a:endParaRPr lang="de-DE" sz="1157">
              <a:solidFill>
                <a:srgbClr val="FF0000"/>
              </a:solidFill>
              <a:latin typeface="Sofia Sans"/>
              <a:sym typeface="Sofia Sans"/>
            </a:endParaRPr>
          </a:p>
        </p:txBody>
      </p:sp>
      <p:sp>
        <p:nvSpPr>
          <p:cNvPr id="17" name="Textfeld 16">
            <a:extLst>
              <a:ext uri="{FF2B5EF4-FFF2-40B4-BE49-F238E27FC236}">
                <a16:creationId xmlns:a16="http://schemas.microsoft.com/office/drawing/2014/main" id="{236F3DA9-C665-2D1D-BFE9-6ECC32A2F3BA}"/>
              </a:ext>
            </a:extLst>
          </p:cNvPr>
          <p:cNvSpPr txBox="1"/>
          <p:nvPr/>
        </p:nvSpPr>
        <p:spPr>
          <a:xfrm>
            <a:off x="3589224" y="2640625"/>
            <a:ext cx="1848664" cy="290464"/>
          </a:xfrm>
          <a:prstGeom prst="rect">
            <a:avLst/>
          </a:prstGeom>
          <a:noFill/>
        </p:spPr>
        <p:txBody>
          <a:bodyPr wrap="square" rtlCol="0">
            <a:spAutoFit/>
          </a:bodyPr>
          <a:lstStyle/>
          <a:p>
            <a:pPr marL="457200" indent="-317500">
              <a:lnSpc>
                <a:spcPct val="115000"/>
              </a:lnSpc>
              <a:buClr>
                <a:schemeClr val="lt1"/>
              </a:buClr>
              <a:buSzPts val="1400"/>
            </a:pPr>
            <a:r>
              <a:rPr lang="en-US" sz="1157">
                <a:solidFill>
                  <a:srgbClr val="FF0000"/>
                </a:solidFill>
                <a:latin typeface="Sofia Sans"/>
                <a:sym typeface="Sofia Sans"/>
              </a:rPr>
              <a:t>short-circuit current I </a:t>
            </a:r>
            <a:endParaRPr lang="de-DE" sz="1157">
              <a:solidFill>
                <a:srgbClr val="FF0000"/>
              </a:solidFill>
              <a:latin typeface="Sofia Sans"/>
              <a:sym typeface="Sofia Sans"/>
            </a:endParaRPr>
          </a:p>
        </p:txBody>
      </p:sp>
      <p:sp>
        <p:nvSpPr>
          <p:cNvPr id="18" name="Textfeld 17">
            <a:extLst>
              <a:ext uri="{FF2B5EF4-FFF2-40B4-BE49-F238E27FC236}">
                <a16:creationId xmlns:a16="http://schemas.microsoft.com/office/drawing/2014/main" id="{38A52C7E-8BD6-EEBC-64D2-A1A7CA944825}"/>
              </a:ext>
            </a:extLst>
          </p:cNvPr>
          <p:cNvSpPr txBox="1"/>
          <p:nvPr/>
        </p:nvSpPr>
        <p:spPr>
          <a:xfrm>
            <a:off x="1418743" y="3033757"/>
            <a:ext cx="962493" cy="290464"/>
          </a:xfrm>
          <a:prstGeom prst="rect">
            <a:avLst/>
          </a:prstGeom>
          <a:noFill/>
        </p:spPr>
        <p:txBody>
          <a:bodyPr wrap="square" rtlCol="0">
            <a:spAutoFit/>
          </a:bodyPr>
          <a:lstStyle/>
          <a:p>
            <a:pPr marL="457200" indent="-317500">
              <a:lnSpc>
                <a:spcPct val="115000"/>
              </a:lnSpc>
              <a:buClr>
                <a:schemeClr val="lt1"/>
              </a:buClr>
              <a:buSzPts val="1400"/>
            </a:pPr>
            <a:r>
              <a:rPr lang="en-US" sz="1157">
                <a:solidFill>
                  <a:srgbClr val="FF0000"/>
                </a:solidFill>
                <a:latin typeface="Sofia Sans"/>
                <a:sym typeface="Sofia Sans"/>
              </a:rPr>
              <a:t>greater</a:t>
            </a:r>
            <a:endParaRPr lang="de-DE" sz="1157">
              <a:solidFill>
                <a:srgbClr val="FF0000"/>
              </a:solidFill>
              <a:latin typeface="Sofia Sans"/>
              <a:sym typeface="Sofia Sans"/>
            </a:endParaRPr>
          </a:p>
        </p:txBody>
      </p:sp>
      <p:sp>
        <p:nvSpPr>
          <p:cNvPr id="19" name="Textfeld 18">
            <a:extLst>
              <a:ext uri="{FF2B5EF4-FFF2-40B4-BE49-F238E27FC236}">
                <a16:creationId xmlns:a16="http://schemas.microsoft.com/office/drawing/2014/main" id="{B3F482C7-5348-D530-0ED4-118635C7D6D7}"/>
              </a:ext>
            </a:extLst>
          </p:cNvPr>
          <p:cNvSpPr txBox="1"/>
          <p:nvPr/>
        </p:nvSpPr>
        <p:spPr>
          <a:xfrm>
            <a:off x="2626731" y="3435337"/>
            <a:ext cx="1153106" cy="290464"/>
          </a:xfrm>
          <a:prstGeom prst="rect">
            <a:avLst/>
          </a:prstGeom>
          <a:noFill/>
        </p:spPr>
        <p:txBody>
          <a:bodyPr wrap="square" rtlCol="0">
            <a:spAutoFit/>
          </a:bodyPr>
          <a:lstStyle/>
          <a:p>
            <a:pPr marL="457200" indent="-317500">
              <a:lnSpc>
                <a:spcPct val="115000"/>
              </a:lnSpc>
              <a:buClr>
                <a:schemeClr val="lt1"/>
              </a:buClr>
              <a:buSzPts val="1400"/>
            </a:pPr>
            <a:r>
              <a:rPr lang="en-US" sz="1157">
                <a:solidFill>
                  <a:srgbClr val="FF0000"/>
                </a:solidFill>
                <a:latin typeface="Sofia Sans"/>
                <a:sym typeface="Sofia Sans"/>
              </a:rPr>
              <a:t>PV-module</a:t>
            </a:r>
            <a:endParaRPr lang="de-DE" sz="1157">
              <a:solidFill>
                <a:srgbClr val="FF0000"/>
              </a:solidFill>
              <a:latin typeface="Sofia Sans"/>
              <a:sym typeface="Sofia Sans"/>
            </a:endParaRPr>
          </a:p>
        </p:txBody>
      </p:sp>
    </p:spTree>
    <p:extLst>
      <p:ext uri="{BB962C8B-B14F-4D97-AF65-F5344CB8AC3E}">
        <p14:creationId xmlns:p14="http://schemas.microsoft.com/office/powerpoint/2010/main" val="1054077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AC4E202-B0DB-23FE-C79E-AE40E035EA28}"/>
              </a:ext>
            </a:extLst>
          </p:cNvPr>
          <p:cNvSpPr>
            <a:spLocks noGrp="1"/>
          </p:cNvSpPr>
          <p:nvPr>
            <p:ph type="sldNum" sz="quarter" idx="4"/>
          </p:nvPr>
        </p:nvSpPr>
        <p:spPr/>
        <p:txBody>
          <a:bodyPr/>
          <a:lstStyle/>
          <a:p>
            <a:fld id="{DF7F771E-9578-4C04-B869-01AF4C35C90C}" type="slidenum">
              <a:rPr lang="de-DE" smtClean="0"/>
              <a:t>26</a:t>
            </a:fld>
            <a:endParaRPr lang="de-DE"/>
          </a:p>
        </p:txBody>
      </p:sp>
      <p:sp>
        <p:nvSpPr>
          <p:cNvPr id="10" name="Titel 1">
            <a:extLst>
              <a:ext uri="{FF2B5EF4-FFF2-40B4-BE49-F238E27FC236}">
                <a16:creationId xmlns:a16="http://schemas.microsoft.com/office/drawing/2014/main" id="{9B358CA3-7CBD-ECFF-F315-3DA4F05BFC0E}"/>
              </a:ext>
            </a:extLst>
          </p:cNvPr>
          <p:cNvSpPr txBox="1">
            <a:spLocks/>
          </p:cNvSpPr>
          <p:nvPr/>
        </p:nvSpPr>
        <p:spPr>
          <a:xfrm>
            <a:off x="589648" y="1164191"/>
            <a:ext cx="6364825" cy="63603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r>
              <a:rPr lang="en-US" sz="2800" b="1">
                <a:solidFill>
                  <a:schemeClr val="dk1"/>
                </a:solidFill>
                <a:latin typeface="Epilogue"/>
                <a:sym typeface="Epilogue"/>
              </a:rPr>
              <a:t>4. </a:t>
            </a:r>
            <a:r>
              <a:rPr lang="en-US" sz="2800" b="1">
                <a:solidFill>
                  <a:schemeClr val="dk1"/>
                </a:solidFill>
                <a:latin typeface="Epilogue"/>
              </a:rPr>
              <a:t>Impact of heat on PV module performance</a:t>
            </a:r>
          </a:p>
          <a:p>
            <a:endParaRPr lang="de-DE" sz="2800" b="1">
              <a:solidFill>
                <a:schemeClr val="dk1"/>
              </a:solidFill>
              <a:latin typeface="Epilogue"/>
              <a:sym typeface="Epilogue"/>
            </a:endParaRPr>
          </a:p>
        </p:txBody>
      </p:sp>
      <p:sp>
        <p:nvSpPr>
          <p:cNvPr id="13" name="Untertitel 3">
            <a:extLst>
              <a:ext uri="{FF2B5EF4-FFF2-40B4-BE49-F238E27FC236}">
                <a16:creationId xmlns:a16="http://schemas.microsoft.com/office/drawing/2014/main" id="{A14DCE1E-4982-0A75-638F-94F2C0296AE5}"/>
              </a:ext>
            </a:extLst>
          </p:cNvPr>
          <p:cNvSpPr txBox="1">
            <a:spLocks/>
          </p:cNvSpPr>
          <p:nvPr/>
        </p:nvSpPr>
        <p:spPr>
          <a:xfrm>
            <a:off x="730527" y="2184673"/>
            <a:ext cx="5832642"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In this chapter you will explore how heating affects the performance of PV modules..</a:t>
            </a:r>
            <a:endParaRPr lang="de-DE" dirty="0"/>
          </a:p>
        </p:txBody>
      </p:sp>
      <p:sp>
        <p:nvSpPr>
          <p:cNvPr id="14" name="Untertitel 3">
            <a:extLst>
              <a:ext uri="{FF2B5EF4-FFF2-40B4-BE49-F238E27FC236}">
                <a16:creationId xmlns:a16="http://schemas.microsoft.com/office/drawing/2014/main" id="{2FCD189A-9A97-F8AD-2109-AA0072679B0A}"/>
              </a:ext>
            </a:extLst>
          </p:cNvPr>
          <p:cNvSpPr txBox="1">
            <a:spLocks/>
          </p:cNvSpPr>
          <p:nvPr/>
        </p:nvSpPr>
        <p:spPr>
          <a:xfrm>
            <a:off x="730528" y="5329199"/>
            <a:ext cx="5740171" cy="318987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a:t>Follow these steps to conduct the experiment:</a:t>
            </a:r>
            <a:endParaRPr lang="en-US"/>
          </a:p>
          <a:p>
            <a:pPr>
              <a:buFont typeface="+mj-lt"/>
              <a:buAutoNum type="arabicPeriod"/>
            </a:pPr>
            <a:r>
              <a:rPr lang="en-US"/>
              <a:t>Position the PV module securely and connect it to the multimeter.</a:t>
            </a:r>
          </a:p>
          <a:p>
            <a:pPr>
              <a:buFont typeface="+mj-lt"/>
              <a:buAutoNum type="arabicPeriod"/>
            </a:pPr>
            <a:r>
              <a:rPr lang="en-US"/>
              <a:t>Measure the open-circuit voltage (U) and short-circuit current (I) of the PV module without any additional heating. Record the values in the table below.</a:t>
            </a:r>
          </a:p>
          <a:p>
            <a:pPr>
              <a:buFont typeface="+mj-lt"/>
              <a:buAutoNum type="arabicPeriod"/>
            </a:pPr>
            <a:r>
              <a:rPr lang="en-US"/>
              <a:t>Use the hair dryer to evenly heat the PV module for 10 seconds.</a:t>
            </a:r>
          </a:p>
          <a:p>
            <a:pPr>
              <a:buFont typeface="+mj-lt"/>
              <a:buAutoNum type="arabicPeriod"/>
            </a:pPr>
            <a:r>
              <a:rPr lang="en-US"/>
              <a:t>Measure the open-circuit voltage (U) and short-circuit current (I) of the heated PV module again and record the values.</a:t>
            </a:r>
          </a:p>
          <a:p>
            <a:pPr>
              <a:buFont typeface="+mj-lt"/>
              <a:buAutoNum type="arabicPeriod"/>
            </a:pPr>
            <a:r>
              <a:rPr lang="en-US"/>
              <a:t>Repeat the measurements after 20 and 30 seconds of heating.</a:t>
            </a:r>
          </a:p>
          <a:p>
            <a:pPr>
              <a:buFont typeface="+mj-lt"/>
              <a:buAutoNum type="arabicPeriod"/>
            </a:pPr>
            <a:endParaRPr lang="en-US"/>
          </a:p>
        </p:txBody>
      </p:sp>
      <p:sp>
        <p:nvSpPr>
          <p:cNvPr id="3" name="Untertitel 5">
            <a:extLst>
              <a:ext uri="{FF2B5EF4-FFF2-40B4-BE49-F238E27FC236}">
                <a16:creationId xmlns:a16="http://schemas.microsoft.com/office/drawing/2014/main" id="{9850254B-3222-80C3-C388-6B9361643717}"/>
              </a:ext>
            </a:extLst>
          </p:cNvPr>
          <p:cNvSpPr txBox="1">
            <a:spLocks/>
          </p:cNvSpPr>
          <p:nvPr/>
        </p:nvSpPr>
        <p:spPr>
          <a:xfrm>
            <a:off x="1104692" y="259999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4" name="Ellipse 3">
            <a:extLst>
              <a:ext uri="{FF2B5EF4-FFF2-40B4-BE49-F238E27FC236}">
                <a16:creationId xmlns:a16="http://schemas.microsoft.com/office/drawing/2014/main" id="{6175D342-4434-645E-7A50-46DBBEE076F1}"/>
              </a:ext>
            </a:extLst>
          </p:cNvPr>
          <p:cNvSpPr>
            <a:spLocks noChangeAspect="1"/>
          </p:cNvSpPr>
          <p:nvPr/>
        </p:nvSpPr>
        <p:spPr>
          <a:xfrm>
            <a:off x="730528" y="2570504"/>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Lupe mit einfarbiger Füllung">
            <a:extLst>
              <a:ext uri="{FF2B5EF4-FFF2-40B4-BE49-F238E27FC236}">
                <a16:creationId xmlns:a16="http://schemas.microsoft.com/office/drawing/2014/main" id="{DFEC62C5-A2F1-93B4-2E57-DE44C21AB3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601" y="2634184"/>
            <a:ext cx="333865" cy="333865"/>
          </a:xfrm>
          <a:prstGeom prst="rect">
            <a:avLst/>
          </a:prstGeom>
        </p:spPr>
      </p:pic>
      <p:sp>
        <p:nvSpPr>
          <p:cNvPr id="6" name="Rechteck 5">
            <a:extLst>
              <a:ext uri="{FF2B5EF4-FFF2-40B4-BE49-F238E27FC236}">
                <a16:creationId xmlns:a16="http://schemas.microsoft.com/office/drawing/2014/main" id="{6E9AF2EC-BBF1-E4B0-2B0D-360601CEB8DC}"/>
              </a:ext>
            </a:extLst>
          </p:cNvPr>
          <p:cNvSpPr/>
          <p:nvPr/>
        </p:nvSpPr>
        <p:spPr>
          <a:xfrm>
            <a:off x="730527" y="3371307"/>
            <a:ext cx="5740172" cy="1829265"/>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Untertitel 2">
            <a:extLst>
              <a:ext uri="{FF2B5EF4-FFF2-40B4-BE49-F238E27FC236}">
                <a16:creationId xmlns:a16="http://schemas.microsoft.com/office/drawing/2014/main" id="{A9AFA496-4187-718C-0440-D44CA927ACD5}"/>
              </a:ext>
            </a:extLst>
          </p:cNvPr>
          <p:cNvSpPr txBox="1">
            <a:spLocks/>
          </p:cNvSpPr>
          <p:nvPr/>
        </p:nvSpPr>
        <p:spPr>
          <a:xfrm>
            <a:off x="1110771" y="3906069"/>
            <a:ext cx="4979684" cy="117023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One Lamp, yellow light bulb</a:t>
            </a:r>
          </a:p>
          <a:p>
            <a:pPr>
              <a:buClrTx/>
              <a:buFont typeface="Arial" panose="020B0604020202020204" pitchFamily="34" charset="0"/>
              <a:buChar char="•"/>
            </a:pPr>
            <a:r>
              <a:rPr lang="en-US" sz="1150"/>
              <a:t>PV modules (small or big) </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Blow dryer</a:t>
            </a:r>
          </a:p>
          <a:p>
            <a:pPr>
              <a:buClrTx/>
              <a:buFont typeface="Arial" panose="020B0604020202020204" pitchFamily="34" charset="0"/>
              <a:buChar char="•"/>
            </a:pPr>
            <a:r>
              <a:rPr lang="en-US" sz="1150"/>
              <a:t>Holder for PV panels</a:t>
            </a:r>
          </a:p>
        </p:txBody>
      </p:sp>
      <p:sp>
        <p:nvSpPr>
          <p:cNvPr id="9" name="Untertitel 5">
            <a:extLst>
              <a:ext uri="{FF2B5EF4-FFF2-40B4-BE49-F238E27FC236}">
                <a16:creationId xmlns:a16="http://schemas.microsoft.com/office/drawing/2014/main" id="{0C905143-2C50-E744-D0BA-5601B6B93B21}"/>
              </a:ext>
            </a:extLst>
          </p:cNvPr>
          <p:cNvSpPr txBox="1">
            <a:spLocks/>
          </p:cNvSpPr>
          <p:nvPr/>
        </p:nvSpPr>
        <p:spPr>
          <a:xfrm>
            <a:off x="892678" y="3514030"/>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11" name="Gruppieren 10">
            <a:extLst>
              <a:ext uri="{FF2B5EF4-FFF2-40B4-BE49-F238E27FC236}">
                <a16:creationId xmlns:a16="http://schemas.microsoft.com/office/drawing/2014/main" id="{AC2992B7-7812-4398-2EA7-FCF54FE9D784}"/>
              </a:ext>
            </a:extLst>
          </p:cNvPr>
          <p:cNvGrpSpPr/>
          <p:nvPr/>
        </p:nvGrpSpPr>
        <p:grpSpPr>
          <a:xfrm>
            <a:off x="6273534" y="3146658"/>
            <a:ext cx="402475" cy="419630"/>
            <a:chOff x="6140368" y="3097011"/>
            <a:chExt cx="660145" cy="660145"/>
          </a:xfrm>
        </p:grpSpPr>
        <p:sp>
          <p:nvSpPr>
            <p:cNvPr id="12" name="Ellipse 11">
              <a:extLst>
                <a:ext uri="{FF2B5EF4-FFF2-40B4-BE49-F238E27FC236}">
                  <a16:creationId xmlns:a16="http://schemas.microsoft.com/office/drawing/2014/main" id="{DDD1DA05-0712-46BC-B43D-1224A8CB2CAD}"/>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Grafik 14" descr="Inventar mit einfarbiger Füllung">
              <a:extLst>
                <a:ext uri="{FF2B5EF4-FFF2-40B4-BE49-F238E27FC236}">
                  <a16:creationId xmlns:a16="http://schemas.microsoft.com/office/drawing/2014/main" id="{62D5B38B-7622-5AF1-F135-FC9A91B746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pic>
        <p:nvPicPr>
          <p:cNvPr id="16" name="Picture 5" descr="A hand holding a blow dryer&#10;&#10;Description automatically generated">
            <a:extLst>
              <a:ext uri="{FF2B5EF4-FFF2-40B4-BE49-F238E27FC236}">
                <a16:creationId xmlns:a16="http://schemas.microsoft.com/office/drawing/2014/main" id="{D4E32882-8DFA-962D-64CB-D40388A256FC}"/>
              </a:ext>
            </a:extLst>
          </p:cNvPr>
          <p:cNvPicPr>
            <a:picLocks noChangeAspect="1"/>
          </p:cNvPicPr>
          <p:nvPr/>
        </p:nvPicPr>
        <p:blipFill rotWithShape="1">
          <a:blip r:embed="rId6"/>
          <a:srcRect l="8344" r="10990"/>
          <a:stretch/>
        </p:blipFill>
        <p:spPr>
          <a:xfrm rot="5400000">
            <a:off x="2614130" y="7352568"/>
            <a:ext cx="2331416" cy="2167658"/>
          </a:xfrm>
          <a:prstGeom prst="rect">
            <a:avLst/>
          </a:prstGeom>
          <a:ln w="38100">
            <a:noFill/>
          </a:ln>
        </p:spPr>
      </p:pic>
    </p:spTree>
    <p:extLst>
      <p:ext uri="{BB962C8B-B14F-4D97-AF65-F5344CB8AC3E}">
        <p14:creationId xmlns:p14="http://schemas.microsoft.com/office/powerpoint/2010/main" val="31180183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BAF2E53E-2084-9E78-3A75-FC7DBF65293D}"/>
              </a:ext>
            </a:extLst>
          </p:cNvPr>
          <p:cNvSpPr>
            <a:spLocks noGrp="1"/>
          </p:cNvSpPr>
          <p:nvPr>
            <p:ph type="sldNum" sz="quarter" idx="4"/>
          </p:nvPr>
        </p:nvSpPr>
        <p:spPr/>
        <p:txBody>
          <a:bodyPr/>
          <a:lstStyle/>
          <a:p>
            <a:fld id="{DF7F771E-9578-4C04-B869-01AF4C35C90C}" type="slidenum">
              <a:rPr lang="de-DE" smtClean="0"/>
              <a:t>27</a:t>
            </a:fld>
            <a:endParaRPr lang="de-DE"/>
          </a:p>
        </p:txBody>
      </p:sp>
      <p:graphicFrame>
        <p:nvGraphicFramePr>
          <p:cNvPr id="12" name="Google Shape;630;p38">
            <a:extLst>
              <a:ext uri="{FF2B5EF4-FFF2-40B4-BE49-F238E27FC236}">
                <a16:creationId xmlns:a16="http://schemas.microsoft.com/office/drawing/2014/main" id="{111326BA-4B62-3C81-5BCC-4516BADF52CB}"/>
              </a:ext>
            </a:extLst>
          </p:cNvPr>
          <p:cNvGraphicFramePr/>
          <p:nvPr>
            <p:extLst>
              <p:ext uri="{D42A27DB-BD31-4B8C-83A1-F6EECF244321}">
                <p14:modId xmlns:p14="http://schemas.microsoft.com/office/powerpoint/2010/main" val="3182401070"/>
              </p:ext>
            </p:extLst>
          </p:nvPr>
        </p:nvGraphicFramePr>
        <p:xfrm>
          <a:off x="704449" y="1544402"/>
          <a:ext cx="5919009" cy="1686768"/>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Distance</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I</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marR="0" lvl="0" indent="0" algn="ctr" rtl="0">
                        <a:lnSpc>
                          <a:spcPct val="115000"/>
                        </a:lnSpc>
                        <a:spcBef>
                          <a:spcPts val="0"/>
                        </a:spcBef>
                        <a:spcAft>
                          <a:spcPts val="0"/>
                        </a:spcAft>
                        <a:buClr>
                          <a:srgbClr val="000000"/>
                        </a:buClr>
                        <a:buFont typeface="Arial"/>
                        <a:buNone/>
                      </a:pPr>
                      <a:r>
                        <a:rPr lang="de-DE" sz="1157" b="0" i="0" u="none" strike="noStrike" cap="none">
                          <a:solidFill>
                            <a:srgbClr val="000000"/>
                          </a:solidFill>
                          <a:effectLst/>
                          <a:latin typeface="Arial"/>
                          <a:ea typeface="Sofia Sans"/>
                          <a:cs typeface="Arial"/>
                          <a:sym typeface="Sofia Sans"/>
                        </a:rPr>
                        <a:t>0 sec (no heat)</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en-US" sz="1157" b="0" i="0" u="none" strike="noStrike" cap="none">
                          <a:solidFill>
                            <a:srgbClr val="000000"/>
                          </a:solidFill>
                          <a:effectLst/>
                          <a:latin typeface="Arial"/>
                          <a:ea typeface="Arial"/>
                          <a:cs typeface="Arial"/>
                          <a:sym typeface="Arial"/>
                        </a:rPr>
                        <a:t>10 sec</a:t>
                      </a:r>
                      <a:endParaRPr lang="en-US"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r>
                        <a:rPr lang="en-US" sz="1157" b="0" i="0" u="none" strike="noStrike" cap="none">
                          <a:solidFill>
                            <a:srgbClr val="000000"/>
                          </a:solidFill>
                          <a:effectLst/>
                          <a:latin typeface="Arial"/>
                          <a:ea typeface="Sofia Sans"/>
                          <a:cs typeface="Arial"/>
                          <a:sym typeface="Arial"/>
                        </a:rPr>
                        <a:t>20 sec</a:t>
                      </a:r>
                      <a:endParaRPr lang="en-US"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752982118"/>
                  </a:ext>
                </a:extLst>
              </a:tr>
              <a:tr h="325711">
                <a:tc>
                  <a:txBody>
                    <a:bodyPr/>
                    <a:lstStyle/>
                    <a:p>
                      <a:pPr marL="0" lvl="0" indent="0" algn="ctr" rtl="0">
                        <a:lnSpc>
                          <a:spcPct val="115000"/>
                        </a:lnSpc>
                        <a:spcBef>
                          <a:spcPts val="0"/>
                        </a:spcBef>
                        <a:spcAft>
                          <a:spcPts val="0"/>
                        </a:spcAft>
                        <a:buNone/>
                      </a:pPr>
                      <a:r>
                        <a:rPr lang="en-US" sz="1157" b="0" i="0" u="none" strike="noStrike" cap="none">
                          <a:solidFill>
                            <a:srgbClr val="000000"/>
                          </a:solidFill>
                          <a:effectLst/>
                          <a:latin typeface="Arial"/>
                          <a:ea typeface="Arial"/>
                          <a:cs typeface="Arial"/>
                          <a:sym typeface="Arial"/>
                        </a:rPr>
                        <a:t>30 sec  </a:t>
                      </a: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3281598"/>
                  </a:ext>
                </a:extLst>
              </a:tr>
            </a:tbl>
          </a:graphicData>
        </a:graphic>
      </p:graphicFrame>
      <p:sp>
        <p:nvSpPr>
          <p:cNvPr id="3" name="Untertitel 3">
            <a:extLst>
              <a:ext uri="{FF2B5EF4-FFF2-40B4-BE49-F238E27FC236}">
                <a16:creationId xmlns:a16="http://schemas.microsoft.com/office/drawing/2014/main" id="{A4F61B91-BEA2-EEF3-934F-4EAAB95D55E1}"/>
              </a:ext>
            </a:extLst>
          </p:cNvPr>
          <p:cNvSpPr txBox="1">
            <a:spLocks/>
          </p:cNvSpPr>
          <p:nvPr/>
        </p:nvSpPr>
        <p:spPr>
          <a:xfrm>
            <a:off x="719136" y="6721098"/>
            <a:ext cx="5919009"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Discuss with your partner: What would be the best location in the world for installing PV systems?</a:t>
            </a:r>
          </a:p>
        </p:txBody>
      </p:sp>
      <p:sp>
        <p:nvSpPr>
          <p:cNvPr id="4" name="Textfeld 11">
            <a:extLst>
              <a:ext uri="{FF2B5EF4-FFF2-40B4-BE49-F238E27FC236}">
                <a16:creationId xmlns:a16="http://schemas.microsoft.com/office/drawing/2014/main" id="{EA70A40F-0571-A163-0506-E24D5B948F05}"/>
              </a:ext>
            </a:extLst>
          </p:cNvPr>
          <p:cNvSpPr txBox="1"/>
          <p:nvPr/>
        </p:nvSpPr>
        <p:spPr>
          <a:xfrm>
            <a:off x="704450" y="7415742"/>
            <a:ext cx="5919009" cy="1075264"/>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100">
                <a:solidFill>
                  <a:srgbClr val="FF0000"/>
                </a:solidFill>
                <a:effectLst/>
                <a:latin typeface="Sofia Sans" panose="020B0604020202020204" charset="0"/>
                <a:ea typeface="Times New Roman" panose="02020603050405020304" pitchFamily="18" charset="0"/>
              </a:rPr>
              <a:t>The best locations for installing PV systems are areas with high solar irradiance and clear skies, such as the Sahara Desert, parts of Australia, the Middle East, the southwestern United States, and regions near the equator. These regions receive abundant, consistent sunlight year-round, maximizing energy production.</a:t>
            </a:r>
            <a:endParaRPr lang="de-DE" sz="1100">
              <a:solidFill>
                <a:srgbClr val="FF0000"/>
              </a:solidFill>
              <a:effectLst/>
              <a:latin typeface="Sofia Sans" panose="020B0604020202020204" charset="0"/>
              <a:ea typeface="Times New Roman" panose="02020603050405020304" pitchFamily="18" charset="0"/>
            </a:endParaRPr>
          </a:p>
        </p:txBody>
      </p:sp>
      <p:sp>
        <p:nvSpPr>
          <p:cNvPr id="14" name="Untertitel 3">
            <a:extLst>
              <a:ext uri="{FF2B5EF4-FFF2-40B4-BE49-F238E27FC236}">
                <a16:creationId xmlns:a16="http://schemas.microsoft.com/office/drawing/2014/main" id="{019E0820-2CE7-D672-C1E5-2DC1CC9E8DE8}"/>
              </a:ext>
            </a:extLst>
          </p:cNvPr>
          <p:cNvSpPr txBox="1">
            <a:spLocks/>
          </p:cNvSpPr>
          <p:nvPr/>
        </p:nvSpPr>
        <p:spPr>
          <a:xfrm>
            <a:off x="730527" y="8641307"/>
            <a:ext cx="5946686"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PV cells use the photoelectric effect to convert light energy into electrical energy. This effect is the core principle of every PV cell, allowing us to transform sunlight into electricity.</a:t>
            </a:r>
          </a:p>
        </p:txBody>
      </p:sp>
      <p:sp>
        <p:nvSpPr>
          <p:cNvPr id="15" name="Textfeld 11">
            <a:extLst>
              <a:ext uri="{FF2B5EF4-FFF2-40B4-BE49-F238E27FC236}">
                <a16:creationId xmlns:a16="http://schemas.microsoft.com/office/drawing/2014/main" id="{9BF3DC94-FAA6-1A18-067D-ADD6456080E4}"/>
              </a:ext>
            </a:extLst>
          </p:cNvPr>
          <p:cNvSpPr txBox="1"/>
          <p:nvPr/>
        </p:nvSpPr>
        <p:spPr>
          <a:xfrm>
            <a:off x="744092" y="5425182"/>
            <a:ext cx="5919009" cy="1075264"/>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100">
                <a:solidFill>
                  <a:srgbClr val="FF0000"/>
                </a:solidFill>
                <a:effectLst/>
                <a:latin typeface="Sofia Sans" panose="020B0604020202020204" charset="0"/>
                <a:ea typeface="Times New Roman" panose="02020603050405020304" pitchFamily="18" charset="0"/>
              </a:rPr>
              <a:t>When a PV (photovoltaic) module heats up, its performance decreases. Specifically, its efficiency drops, meaning it produces less electricity from the same amount of sunlight.</a:t>
            </a:r>
            <a:endParaRPr lang="de-DE" sz="1100">
              <a:solidFill>
                <a:srgbClr val="FF0000"/>
              </a:solidFill>
              <a:effectLst/>
              <a:latin typeface="Sofia Sans" panose="020B0604020202020204" charset="0"/>
              <a:ea typeface="Times New Roman" panose="02020603050405020304" pitchFamily="18" charset="0"/>
            </a:endParaRPr>
          </a:p>
        </p:txBody>
      </p:sp>
      <p:sp>
        <p:nvSpPr>
          <p:cNvPr id="16" name="Untertitel 3">
            <a:extLst>
              <a:ext uri="{FF2B5EF4-FFF2-40B4-BE49-F238E27FC236}">
                <a16:creationId xmlns:a16="http://schemas.microsoft.com/office/drawing/2014/main" id="{BFC5788F-8F84-4630-B281-64026A3C0BAE}"/>
              </a:ext>
            </a:extLst>
          </p:cNvPr>
          <p:cNvSpPr txBox="1">
            <a:spLocks/>
          </p:cNvSpPr>
          <p:nvPr/>
        </p:nvSpPr>
        <p:spPr>
          <a:xfrm>
            <a:off x="744092" y="5006541"/>
            <a:ext cx="5933121"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How does the performance of the PV module change when it is heated?</a:t>
            </a:r>
          </a:p>
        </p:txBody>
      </p:sp>
      <p:sp>
        <p:nvSpPr>
          <p:cNvPr id="17" name="Untertitel 5">
            <a:extLst>
              <a:ext uri="{FF2B5EF4-FFF2-40B4-BE49-F238E27FC236}">
                <a16:creationId xmlns:a16="http://schemas.microsoft.com/office/drawing/2014/main" id="{7E84AECA-FF23-4FF9-7565-60902CB9A226}"/>
              </a:ext>
            </a:extLst>
          </p:cNvPr>
          <p:cNvSpPr txBox="1">
            <a:spLocks/>
          </p:cNvSpPr>
          <p:nvPr/>
        </p:nvSpPr>
        <p:spPr>
          <a:xfrm>
            <a:off x="1162734" y="393105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8" name="Ellipse 17">
            <a:extLst>
              <a:ext uri="{FF2B5EF4-FFF2-40B4-BE49-F238E27FC236}">
                <a16:creationId xmlns:a16="http://schemas.microsoft.com/office/drawing/2014/main" id="{98E7C89D-5384-3472-2C11-2446CE1D2B80}"/>
              </a:ext>
            </a:extLst>
          </p:cNvPr>
          <p:cNvSpPr>
            <a:spLocks noChangeAspect="1"/>
          </p:cNvSpPr>
          <p:nvPr/>
        </p:nvSpPr>
        <p:spPr>
          <a:xfrm>
            <a:off x="744093" y="3925122"/>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descr="Skizze mit einfarbiger Füllung">
            <a:extLst>
              <a:ext uri="{FF2B5EF4-FFF2-40B4-BE49-F238E27FC236}">
                <a16:creationId xmlns:a16="http://schemas.microsoft.com/office/drawing/2014/main" id="{C117F978-CB90-B60E-4931-4770588DFA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570" y="3988854"/>
            <a:ext cx="379044" cy="379044"/>
          </a:xfrm>
          <a:prstGeom prst="rect">
            <a:avLst/>
          </a:prstGeom>
        </p:spPr>
      </p:pic>
      <p:sp>
        <p:nvSpPr>
          <p:cNvPr id="20" name="Untertitel 5">
            <a:extLst>
              <a:ext uri="{FF2B5EF4-FFF2-40B4-BE49-F238E27FC236}">
                <a16:creationId xmlns:a16="http://schemas.microsoft.com/office/drawing/2014/main" id="{700EC945-FF47-47E5-C52D-834167FB064B}"/>
              </a:ext>
            </a:extLst>
          </p:cNvPr>
          <p:cNvSpPr txBox="1">
            <a:spLocks/>
          </p:cNvSpPr>
          <p:nvPr/>
        </p:nvSpPr>
        <p:spPr>
          <a:xfrm>
            <a:off x="732703" y="460609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1</a:t>
            </a:r>
          </a:p>
        </p:txBody>
      </p:sp>
    </p:spTree>
    <p:extLst>
      <p:ext uri="{BB962C8B-B14F-4D97-AF65-F5344CB8AC3E}">
        <p14:creationId xmlns:p14="http://schemas.microsoft.com/office/powerpoint/2010/main" val="28491134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062BCCF6-6CDD-E767-90DB-EDB54F37B88B}"/>
              </a:ext>
            </a:extLst>
          </p:cNvPr>
          <p:cNvSpPr>
            <a:spLocks noGrp="1"/>
          </p:cNvSpPr>
          <p:nvPr>
            <p:ph type="sldNum" sz="quarter" idx="10"/>
          </p:nvPr>
        </p:nvSpPr>
        <p:spPr/>
        <p:txBody>
          <a:bodyPr/>
          <a:lstStyle/>
          <a:p>
            <a:fld id="{DF7F771E-9578-4C04-B869-01AF4C35C90C}" type="slidenum">
              <a:rPr lang="de-DE" smtClean="0"/>
              <a:t>28</a:t>
            </a:fld>
            <a:endParaRPr lang="de-DE"/>
          </a:p>
        </p:txBody>
      </p:sp>
      <p:sp>
        <p:nvSpPr>
          <p:cNvPr id="14" name="Untertitel 3">
            <a:extLst>
              <a:ext uri="{FF2B5EF4-FFF2-40B4-BE49-F238E27FC236}">
                <a16:creationId xmlns:a16="http://schemas.microsoft.com/office/drawing/2014/main" id="{164A22D0-9043-16A3-F739-B3B9A32DDB2B}"/>
              </a:ext>
            </a:extLst>
          </p:cNvPr>
          <p:cNvSpPr txBox="1">
            <a:spLocks/>
          </p:cNvSpPr>
          <p:nvPr/>
        </p:nvSpPr>
        <p:spPr>
          <a:xfrm>
            <a:off x="730527" y="1441694"/>
            <a:ext cx="5907619" cy="104258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What is the photoelectric effect? The photoelectric effect occurs when light hits a material (in our case ….) and knocks electrons out of the material. These released electrons can then flow through a circuit, creating an electric current. </a:t>
            </a:r>
          </a:p>
          <a:p>
            <a:pPr marL="139700" indent="0"/>
            <a:r>
              <a:rPr lang="en-US" dirty="0"/>
              <a:t>Put the following words into the right boxes: Photon, Electron, Metal</a:t>
            </a:r>
          </a:p>
          <a:p>
            <a:endParaRPr lang="en-US" dirty="0"/>
          </a:p>
        </p:txBody>
      </p:sp>
      <p:grpSp>
        <p:nvGrpSpPr>
          <p:cNvPr id="28" name="Gruppieren 27">
            <a:extLst>
              <a:ext uri="{FF2B5EF4-FFF2-40B4-BE49-F238E27FC236}">
                <a16:creationId xmlns:a16="http://schemas.microsoft.com/office/drawing/2014/main" id="{482FF0B3-43B8-92A3-ABBB-228752594F62}"/>
              </a:ext>
            </a:extLst>
          </p:cNvPr>
          <p:cNvGrpSpPr/>
          <p:nvPr/>
        </p:nvGrpSpPr>
        <p:grpSpPr>
          <a:xfrm>
            <a:off x="2619374" y="2769430"/>
            <a:ext cx="2388854" cy="1571322"/>
            <a:chOff x="2619374" y="8313018"/>
            <a:chExt cx="2633918" cy="1773212"/>
          </a:xfrm>
        </p:grpSpPr>
        <p:pic>
          <p:nvPicPr>
            <p:cNvPr id="15" name="Grafik 14">
              <a:extLst>
                <a:ext uri="{FF2B5EF4-FFF2-40B4-BE49-F238E27FC236}">
                  <a16:creationId xmlns:a16="http://schemas.microsoft.com/office/drawing/2014/main" id="{4DFC85E4-7805-34EF-D920-BD2B6FB5495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19374" y="8439485"/>
              <a:ext cx="2320925" cy="1631950"/>
            </a:xfrm>
            <a:prstGeom prst="rect">
              <a:avLst/>
            </a:prstGeom>
            <a:noFill/>
          </p:spPr>
        </p:pic>
        <p:sp>
          <p:nvSpPr>
            <p:cNvPr id="16" name="Rechteck 15">
              <a:extLst>
                <a:ext uri="{FF2B5EF4-FFF2-40B4-BE49-F238E27FC236}">
                  <a16:creationId xmlns:a16="http://schemas.microsoft.com/office/drawing/2014/main" id="{4C7F22E1-4F34-5A56-5961-DE118B59C0E2}"/>
                </a:ext>
              </a:extLst>
            </p:cNvPr>
            <p:cNvSpPr/>
            <p:nvPr/>
          </p:nvSpPr>
          <p:spPr>
            <a:xfrm>
              <a:off x="2729706" y="8823977"/>
              <a:ext cx="1050130" cy="267729"/>
            </a:xfrm>
            <a:prstGeom prst="rect">
              <a:avLst/>
            </a:prstGeom>
            <a:solidFill>
              <a:srgbClr val="FFFFFF"/>
            </a:solidFill>
            <a:ln w="12700">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100" err="1">
                  <a:solidFill>
                    <a:srgbClr val="FF0000"/>
                  </a:solidFill>
                  <a:latin typeface="Sofia Sans" panose="020B0604020202020204" charset="0"/>
                </a:rPr>
                <a:t>Electron</a:t>
              </a:r>
              <a:endParaRPr lang="de-DE" sz="1100">
                <a:solidFill>
                  <a:srgbClr val="FF0000"/>
                </a:solidFill>
                <a:latin typeface="Sofia Sans" panose="020B0604020202020204" charset="0"/>
              </a:endParaRPr>
            </a:p>
          </p:txBody>
        </p:sp>
        <p:sp>
          <p:nvSpPr>
            <p:cNvPr id="17" name="Rechteck 16">
              <a:extLst>
                <a:ext uri="{FF2B5EF4-FFF2-40B4-BE49-F238E27FC236}">
                  <a16:creationId xmlns:a16="http://schemas.microsoft.com/office/drawing/2014/main" id="{CC48CC10-378A-34D1-AE66-45A3146F8002}"/>
                </a:ext>
              </a:extLst>
            </p:cNvPr>
            <p:cNvSpPr/>
            <p:nvPr/>
          </p:nvSpPr>
          <p:spPr>
            <a:xfrm>
              <a:off x="3153577" y="9818501"/>
              <a:ext cx="1050130" cy="267729"/>
            </a:xfrm>
            <a:prstGeom prst="rect">
              <a:avLst/>
            </a:prstGeom>
            <a:solidFill>
              <a:srgbClr val="FFFFFF"/>
            </a:solidFill>
            <a:ln w="12700">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100">
                  <a:solidFill>
                    <a:srgbClr val="FF0000"/>
                  </a:solidFill>
                  <a:latin typeface="Sofia Sans" panose="020B0604020202020204" charset="0"/>
                </a:rPr>
                <a:t>Metal</a:t>
              </a:r>
            </a:p>
          </p:txBody>
        </p:sp>
        <p:sp>
          <p:nvSpPr>
            <p:cNvPr id="18" name="Rechteck 17">
              <a:extLst>
                <a:ext uri="{FF2B5EF4-FFF2-40B4-BE49-F238E27FC236}">
                  <a16:creationId xmlns:a16="http://schemas.microsoft.com/office/drawing/2014/main" id="{9297E1A2-B232-070D-6234-874179447A7F}"/>
                </a:ext>
              </a:extLst>
            </p:cNvPr>
            <p:cNvSpPr/>
            <p:nvPr/>
          </p:nvSpPr>
          <p:spPr>
            <a:xfrm>
              <a:off x="4203162" y="8313018"/>
              <a:ext cx="1050130" cy="267729"/>
            </a:xfrm>
            <a:prstGeom prst="rect">
              <a:avLst/>
            </a:prstGeom>
            <a:solidFill>
              <a:srgbClr val="FFFFFF"/>
            </a:solidFill>
            <a:ln w="12700">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100">
                  <a:solidFill>
                    <a:srgbClr val="FF0000"/>
                  </a:solidFill>
                  <a:latin typeface="Sofia Sans" panose="020B0604020202020204" charset="0"/>
                </a:rPr>
                <a:t>Photon</a:t>
              </a:r>
            </a:p>
          </p:txBody>
        </p:sp>
      </p:grpSp>
      <p:sp>
        <p:nvSpPr>
          <p:cNvPr id="22" name="Untertitel 5">
            <a:extLst>
              <a:ext uri="{FF2B5EF4-FFF2-40B4-BE49-F238E27FC236}">
                <a16:creationId xmlns:a16="http://schemas.microsoft.com/office/drawing/2014/main" id="{9B50A08C-7BF9-AB0F-F238-3E40233B62F9}"/>
              </a:ext>
            </a:extLst>
          </p:cNvPr>
          <p:cNvSpPr txBox="1">
            <a:spLocks/>
          </p:cNvSpPr>
          <p:nvPr/>
        </p:nvSpPr>
        <p:spPr>
          <a:xfrm>
            <a:off x="719137" y="1023053"/>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2</a:t>
            </a:r>
          </a:p>
        </p:txBody>
      </p:sp>
      <p:sp>
        <p:nvSpPr>
          <p:cNvPr id="60" name="Untertitel 3">
            <a:extLst>
              <a:ext uri="{FF2B5EF4-FFF2-40B4-BE49-F238E27FC236}">
                <a16:creationId xmlns:a16="http://schemas.microsoft.com/office/drawing/2014/main" id="{352E27B8-2F4E-F6BD-6C79-E9272D547747}"/>
              </a:ext>
            </a:extLst>
          </p:cNvPr>
          <p:cNvSpPr txBox="1">
            <a:spLocks/>
          </p:cNvSpPr>
          <p:nvPr/>
        </p:nvSpPr>
        <p:spPr>
          <a:xfrm>
            <a:off x="730590" y="5586886"/>
            <a:ext cx="5944509" cy="47838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Match the following terms with their descriptions. Draw a line between corresponding term and description.</a:t>
            </a:r>
          </a:p>
        </p:txBody>
      </p:sp>
      <p:sp>
        <p:nvSpPr>
          <p:cNvPr id="61" name="Textfeld 60">
            <a:extLst>
              <a:ext uri="{FF2B5EF4-FFF2-40B4-BE49-F238E27FC236}">
                <a16:creationId xmlns:a16="http://schemas.microsoft.com/office/drawing/2014/main" id="{9C7FFFD6-DDA9-7E85-016E-567F80F79A75}"/>
              </a:ext>
            </a:extLst>
          </p:cNvPr>
          <p:cNvSpPr txBox="1"/>
          <p:nvPr/>
        </p:nvSpPr>
        <p:spPr>
          <a:xfrm>
            <a:off x="1062112" y="6251160"/>
            <a:ext cx="1632533" cy="276999"/>
          </a:xfrm>
          <a:prstGeom prst="rect">
            <a:avLst/>
          </a:prstGeom>
          <a:noFill/>
        </p:spPr>
        <p:txBody>
          <a:bodyPr wrap="square" rtlCol="0">
            <a:spAutoFit/>
          </a:bodyPr>
          <a:lstStyle/>
          <a:p>
            <a:pPr algn="ctr"/>
            <a:r>
              <a:rPr lang="de-DE" sz="1160" b="1">
                <a:solidFill>
                  <a:schemeClr val="accent1"/>
                </a:solidFill>
                <a:latin typeface="Epilogue"/>
                <a:sym typeface="Epilogue"/>
              </a:rPr>
              <a:t>Term</a:t>
            </a:r>
            <a:endParaRPr lang="de-DE" sz="1160">
              <a:solidFill>
                <a:schemeClr val="accent1"/>
              </a:solidFill>
            </a:endParaRPr>
          </a:p>
        </p:txBody>
      </p:sp>
      <p:sp>
        <p:nvSpPr>
          <p:cNvPr id="62" name="Textfeld 61">
            <a:extLst>
              <a:ext uri="{FF2B5EF4-FFF2-40B4-BE49-F238E27FC236}">
                <a16:creationId xmlns:a16="http://schemas.microsoft.com/office/drawing/2014/main" id="{342E75F8-A810-C19E-A882-B048019AAC9B}"/>
              </a:ext>
            </a:extLst>
          </p:cNvPr>
          <p:cNvSpPr txBox="1"/>
          <p:nvPr/>
        </p:nvSpPr>
        <p:spPr>
          <a:xfrm>
            <a:off x="4467543" y="6245022"/>
            <a:ext cx="1632533" cy="276999"/>
          </a:xfrm>
          <a:prstGeom prst="rect">
            <a:avLst/>
          </a:prstGeom>
          <a:noFill/>
        </p:spPr>
        <p:txBody>
          <a:bodyPr wrap="square" rtlCol="0">
            <a:spAutoFit/>
          </a:bodyPr>
          <a:lstStyle/>
          <a:p>
            <a:pPr algn="ctr"/>
            <a:r>
              <a:rPr lang="de-DE" sz="1160" b="1">
                <a:solidFill>
                  <a:schemeClr val="accent1"/>
                </a:solidFill>
                <a:latin typeface="Epilogue"/>
                <a:sym typeface="Epilogue"/>
              </a:rPr>
              <a:t>Description</a:t>
            </a:r>
            <a:endParaRPr lang="de-DE" sz="1160">
              <a:solidFill>
                <a:schemeClr val="accent1"/>
              </a:solidFill>
            </a:endParaRPr>
          </a:p>
        </p:txBody>
      </p:sp>
      <p:sp>
        <p:nvSpPr>
          <p:cNvPr id="63" name="Rechteck 62">
            <a:extLst>
              <a:ext uri="{FF2B5EF4-FFF2-40B4-BE49-F238E27FC236}">
                <a16:creationId xmlns:a16="http://schemas.microsoft.com/office/drawing/2014/main" id="{DCA73C89-4826-346B-1FD1-CB13FC168A07}"/>
              </a:ext>
            </a:extLst>
          </p:cNvPr>
          <p:cNvSpPr/>
          <p:nvPr/>
        </p:nvSpPr>
        <p:spPr>
          <a:xfrm>
            <a:off x="998290" y="7033680"/>
            <a:ext cx="1805938"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00" err="1">
                <a:solidFill>
                  <a:schemeClr val="accent1"/>
                </a:solidFill>
                <a:latin typeface="Epilogue"/>
                <a:cs typeface="Arial"/>
              </a:rPr>
              <a:t>Electron</a:t>
            </a:r>
            <a:endParaRPr lang="de-DE" sz="1000">
              <a:solidFill>
                <a:schemeClr val="accent1"/>
              </a:solidFill>
              <a:latin typeface="Epilogue"/>
              <a:cs typeface="Arial"/>
            </a:endParaRPr>
          </a:p>
        </p:txBody>
      </p:sp>
      <p:sp>
        <p:nvSpPr>
          <p:cNvPr id="64" name="Rechteck 63">
            <a:extLst>
              <a:ext uri="{FF2B5EF4-FFF2-40B4-BE49-F238E27FC236}">
                <a16:creationId xmlns:a16="http://schemas.microsoft.com/office/drawing/2014/main" id="{C4E0B163-6BEC-87BD-AC54-0BCA3CBE09A0}"/>
              </a:ext>
            </a:extLst>
          </p:cNvPr>
          <p:cNvSpPr/>
          <p:nvPr/>
        </p:nvSpPr>
        <p:spPr>
          <a:xfrm>
            <a:off x="998290" y="8541951"/>
            <a:ext cx="1805938"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00" err="1">
                <a:solidFill>
                  <a:schemeClr val="accent1"/>
                </a:solidFill>
                <a:latin typeface="Epilogue"/>
                <a:cs typeface="Arial"/>
              </a:rPr>
              <a:t>Pn</a:t>
            </a:r>
            <a:r>
              <a:rPr lang="de-DE" sz="1000">
                <a:solidFill>
                  <a:schemeClr val="accent1"/>
                </a:solidFill>
                <a:latin typeface="Epilogue"/>
                <a:cs typeface="Arial"/>
              </a:rPr>
              <a:t>-Junction</a:t>
            </a:r>
          </a:p>
        </p:txBody>
      </p:sp>
      <p:sp>
        <p:nvSpPr>
          <p:cNvPr id="65" name="Rechteck 64">
            <a:extLst>
              <a:ext uri="{FF2B5EF4-FFF2-40B4-BE49-F238E27FC236}">
                <a16:creationId xmlns:a16="http://schemas.microsoft.com/office/drawing/2014/main" id="{CC1F64E8-7253-07EB-9320-1889D8026A0F}"/>
              </a:ext>
            </a:extLst>
          </p:cNvPr>
          <p:cNvSpPr/>
          <p:nvPr/>
        </p:nvSpPr>
        <p:spPr>
          <a:xfrm>
            <a:off x="998290" y="7419030"/>
            <a:ext cx="1805938"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00">
                <a:solidFill>
                  <a:schemeClr val="accent1"/>
                </a:solidFill>
                <a:latin typeface="Epilogue"/>
                <a:cs typeface="Arial"/>
              </a:rPr>
              <a:t>Semiconductor Material</a:t>
            </a:r>
          </a:p>
        </p:txBody>
      </p:sp>
      <p:sp>
        <p:nvSpPr>
          <p:cNvPr id="66" name="Rechteck 65">
            <a:extLst>
              <a:ext uri="{FF2B5EF4-FFF2-40B4-BE49-F238E27FC236}">
                <a16:creationId xmlns:a16="http://schemas.microsoft.com/office/drawing/2014/main" id="{563A452D-F725-3EEB-233F-81EF0959D4DB}"/>
              </a:ext>
            </a:extLst>
          </p:cNvPr>
          <p:cNvSpPr/>
          <p:nvPr/>
        </p:nvSpPr>
        <p:spPr>
          <a:xfrm>
            <a:off x="998290" y="8921962"/>
            <a:ext cx="1805938"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00" err="1">
                <a:solidFill>
                  <a:schemeClr val="accent1"/>
                </a:solidFill>
                <a:latin typeface="Epilogue"/>
                <a:cs typeface="Arial"/>
              </a:rPr>
              <a:t>Electrode</a:t>
            </a:r>
            <a:endParaRPr lang="de-DE" sz="1000">
              <a:solidFill>
                <a:schemeClr val="accent1"/>
              </a:solidFill>
              <a:latin typeface="Epilogue"/>
              <a:cs typeface="Arial"/>
            </a:endParaRPr>
          </a:p>
        </p:txBody>
      </p:sp>
      <p:sp>
        <p:nvSpPr>
          <p:cNvPr id="67" name="Rechteck 66">
            <a:extLst>
              <a:ext uri="{FF2B5EF4-FFF2-40B4-BE49-F238E27FC236}">
                <a16:creationId xmlns:a16="http://schemas.microsoft.com/office/drawing/2014/main" id="{5FEED71C-A56E-5785-C92D-94EA3DAF562A}"/>
              </a:ext>
            </a:extLst>
          </p:cNvPr>
          <p:cNvSpPr/>
          <p:nvPr/>
        </p:nvSpPr>
        <p:spPr>
          <a:xfrm>
            <a:off x="998290" y="8170496"/>
            <a:ext cx="1805938"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00">
                <a:solidFill>
                  <a:schemeClr val="accent1"/>
                </a:solidFill>
                <a:latin typeface="Epilogue"/>
                <a:cs typeface="Arial"/>
              </a:rPr>
              <a:t>N-Layer</a:t>
            </a:r>
          </a:p>
        </p:txBody>
      </p:sp>
      <p:sp>
        <p:nvSpPr>
          <p:cNvPr id="68" name="Rechteck 67">
            <a:extLst>
              <a:ext uri="{FF2B5EF4-FFF2-40B4-BE49-F238E27FC236}">
                <a16:creationId xmlns:a16="http://schemas.microsoft.com/office/drawing/2014/main" id="{3B432843-2FB4-AACE-67D6-7DB22D414310}"/>
              </a:ext>
            </a:extLst>
          </p:cNvPr>
          <p:cNvSpPr/>
          <p:nvPr/>
        </p:nvSpPr>
        <p:spPr>
          <a:xfrm>
            <a:off x="998290" y="7799041"/>
            <a:ext cx="1805938"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00">
                <a:solidFill>
                  <a:schemeClr val="accent1"/>
                </a:solidFill>
                <a:latin typeface="Epilogue"/>
                <a:cs typeface="Arial"/>
              </a:rPr>
              <a:t>P-Layer</a:t>
            </a:r>
          </a:p>
        </p:txBody>
      </p:sp>
      <p:sp>
        <p:nvSpPr>
          <p:cNvPr id="69" name="Rechteck 68">
            <a:extLst>
              <a:ext uri="{FF2B5EF4-FFF2-40B4-BE49-F238E27FC236}">
                <a16:creationId xmlns:a16="http://schemas.microsoft.com/office/drawing/2014/main" id="{16BFAC0E-E6BF-87C2-2F63-719A6E33C4DE}"/>
              </a:ext>
            </a:extLst>
          </p:cNvPr>
          <p:cNvSpPr/>
          <p:nvPr/>
        </p:nvSpPr>
        <p:spPr>
          <a:xfrm>
            <a:off x="998290" y="6648330"/>
            <a:ext cx="1805938"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00">
                <a:solidFill>
                  <a:schemeClr val="accent1"/>
                </a:solidFill>
                <a:latin typeface="Epilogue"/>
                <a:cs typeface="Arial"/>
              </a:rPr>
              <a:t>Photon</a:t>
            </a:r>
          </a:p>
        </p:txBody>
      </p:sp>
      <p:sp>
        <p:nvSpPr>
          <p:cNvPr id="70" name="Rechteck 69">
            <a:extLst>
              <a:ext uri="{FF2B5EF4-FFF2-40B4-BE49-F238E27FC236}">
                <a16:creationId xmlns:a16="http://schemas.microsoft.com/office/drawing/2014/main" id="{AADF8BE5-BF43-810F-699E-08B7EBCAEF45}"/>
              </a:ext>
            </a:extLst>
          </p:cNvPr>
          <p:cNvSpPr/>
          <p:nvPr/>
        </p:nvSpPr>
        <p:spPr>
          <a:xfrm>
            <a:off x="3557152" y="8361106"/>
            <a:ext cx="3288904"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latin typeface="Epilogue"/>
                <a:cs typeface="Arial"/>
              </a:rPr>
              <a:t>A </a:t>
            </a:r>
            <a:r>
              <a:rPr lang="de-DE" sz="1000" err="1">
                <a:solidFill>
                  <a:schemeClr val="tx1"/>
                </a:solidFill>
                <a:latin typeface="Epilogue"/>
                <a:cs typeface="Arial"/>
              </a:rPr>
              <a:t>negatively</a:t>
            </a:r>
            <a:r>
              <a:rPr lang="de-DE" sz="1000">
                <a:solidFill>
                  <a:schemeClr val="tx1"/>
                </a:solidFill>
                <a:latin typeface="Epilogue"/>
                <a:cs typeface="Arial"/>
              </a:rPr>
              <a:t> </a:t>
            </a:r>
            <a:r>
              <a:rPr lang="de-DE" sz="1000" err="1">
                <a:solidFill>
                  <a:schemeClr val="tx1"/>
                </a:solidFill>
                <a:latin typeface="Epilogue"/>
                <a:cs typeface="Arial"/>
              </a:rPr>
              <a:t>charged</a:t>
            </a:r>
            <a:r>
              <a:rPr lang="de-DE" sz="1000">
                <a:solidFill>
                  <a:schemeClr val="tx1"/>
                </a:solidFill>
                <a:latin typeface="Epilogue"/>
                <a:cs typeface="Arial"/>
              </a:rPr>
              <a:t> </a:t>
            </a:r>
            <a:r>
              <a:rPr lang="de-DE" sz="1000" err="1">
                <a:solidFill>
                  <a:schemeClr val="tx1"/>
                </a:solidFill>
                <a:latin typeface="Epilogue"/>
                <a:cs typeface="Arial"/>
              </a:rPr>
              <a:t>particle</a:t>
            </a:r>
            <a:endParaRPr lang="de-DE" sz="1000">
              <a:solidFill>
                <a:schemeClr val="tx1"/>
              </a:solidFill>
              <a:latin typeface="Epilogue"/>
              <a:cs typeface="Arial"/>
            </a:endParaRPr>
          </a:p>
        </p:txBody>
      </p:sp>
      <p:sp>
        <p:nvSpPr>
          <p:cNvPr id="71" name="Rechteck 70">
            <a:extLst>
              <a:ext uri="{FF2B5EF4-FFF2-40B4-BE49-F238E27FC236}">
                <a16:creationId xmlns:a16="http://schemas.microsoft.com/office/drawing/2014/main" id="{E97772B0-68A1-3203-2AED-F46C9792A262}"/>
              </a:ext>
            </a:extLst>
          </p:cNvPr>
          <p:cNvSpPr/>
          <p:nvPr/>
        </p:nvSpPr>
        <p:spPr>
          <a:xfrm>
            <a:off x="3557153" y="8709197"/>
            <a:ext cx="3288904" cy="508198"/>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Epilogue"/>
                <a:cs typeface="Arial"/>
              </a:rPr>
              <a:t>Interface between the P and N layers where electrons and holes separate to generate current</a:t>
            </a:r>
            <a:endParaRPr lang="de-DE" sz="1000">
              <a:solidFill>
                <a:schemeClr val="tx1"/>
              </a:solidFill>
              <a:latin typeface="Epilogue"/>
              <a:cs typeface="Arial"/>
            </a:endParaRPr>
          </a:p>
        </p:txBody>
      </p:sp>
      <p:sp>
        <p:nvSpPr>
          <p:cNvPr id="72" name="Rechteck 71">
            <a:extLst>
              <a:ext uri="{FF2B5EF4-FFF2-40B4-BE49-F238E27FC236}">
                <a16:creationId xmlns:a16="http://schemas.microsoft.com/office/drawing/2014/main" id="{E3849BAE-1BE8-A054-629A-2192B47F2529}"/>
              </a:ext>
            </a:extLst>
          </p:cNvPr>
          <p:cNvSpPr/>
          <p:nvPr/>
        </p:nvSpPr>
        <p:spPr>
          <a:xfrm>
            <a:off x="3557154" y="7545461"/>
            <a:ext cx="3288904" cy="426624"/>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Epilogue"/>
                <a:cs typeface="Arial"/>
              </a:rPr>
              <a:t>The material, typically silicon, is responsible for converting light into electrical energy</a:t>
            </a:r>
            <a:endParaRPr lang="de-DE" sz="1000">
              <a:solidFill>
                <a:schemeClr val="tx1"/>
              </a:solidFill>
              <a:latin typeface="Epilogue"/>
              <a:cs typeface="Arial"/>
            </a:endParaRPr>
          </a:p>
        </p:txBody>
      </p:sp>
      <p:sp>
        <p:nvSpPr>
          <p:cNvPr id="73" name="Rechteck 72">
            <a:extLst>
              <a:ext uri="{FF2B5EF4-FFF2-40B4-BE49-F238E27FC236}">
                <a16:creationId xmlns:a16="http://schemas.microsoft.com/office/drawing/2014/main" id="{0BF128FE-B3CB-D0AC-E022-64A5E5EABE78}"/>
              </a:ext>
            </a:extLst>
          </p:cNvPr>
          <p:cNvSpPr/>
          <p:nvPr/>
        </p:nvSpPr>
        <p:spPr>
          <a:xfrm>
            <a:off x="3557151" y="6639919"/>
            <a:ext cx="3288904" cy="525346"/>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Epilogue"/>
                <a:cs typeface="Arial"/>
              </a:rPr>
              <a:t>Conducts the generated electrons away from the PV cell, allowing the generated electricity to be used </a:t>
            </a:r>
            <a:endParaRPr lang="de-DE" sz="1000">
              <a:solidFill>
                <a:schemeClr val="tx1"/>
              </a:solidFill>
              <a:latin typeface="Epilogue"/>
              <a:cs typeface="Arial"/>
            </a:endParaRPr>
          </a:p>
        </p:txBody>
      </p:sp>
      <p:sp>
        <p:nvSpPr>
          <p:cNvPr id="74" name="Rechteck 73">
            <a:extLst>
              <a:ext uri="{FF2B5EF4-FFF2-40B4-BE49-F238E27FC236}">
                <a16:creationId xmlns:a16="http://schemas.microsoft.com/office/drawing/2014/main" id="{278D17B4-6F6C-8D27-9FF9-655DCA88DFDB}"/>
              </a:ext>
            </a:extLst>
          </p:cNvPr>
          <p:cNvSpPr/>
          <p:nvPr/>
        </p:nvSpPr>
        <p:spPr>
          <a:xfrm>
            <a:off x="3557150" y="9269071"/>
            <a:ext cx="3288904"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latin typeface="Epilogue"/>
                <a:cs typeface="Arial"/>
              </a:rPr>
              <a:t>Negative </a:t>
            </a:r>
            <a:r>
              <a:rPr lang="de-DE" sz="1000" err="1">
                <a:solidFill>
                  <a:schemeClr val="tx1"/>
                </a:solidFill>
                <a:latin typeface="Epilogue"/>
                <a:cs typeface="Arial"/>
              </a:rPr>
              <a:t>charge</a:t>
            </a:r>
            <a:r>
              <a:rPr lang="de-DE" sz="1000">
                <a:solidFill>
                  <a:schemeClr val="tx1"/>
                </a:solidFill>
                <a:latin typeface="Epilogue"/>
                <a:cs typeface="Arial"/>
              </a:rPr>
              <a:t> </a:t>
            </a:r>
            <a:r>
              <a:rPr lang="de-DE" sz="1000" err="1">
                <a:solidFill>
                  <a:schemeClr val="tx1"/>
                </a:solidFill>
                <a:latin typeface="Epilogue"/>
                <a:cs typeface="Arial"/>
              </a:rPr>
              <a:t>carriers</a:t>
            </a:r>
            <a:endParaRPr lang="de-DE" sz="1000">
              <a:solidFill>
                <a:schemeClr val="tx1"/>
              </a:solidFill>
              <a:latin typeface="Epilogue"/>
              <a:cs typeface="Arial"/>
            </a:endParaRPr>
          </a:p>
        </p:txBody>
      </p:sp>
      <p:sp>
        <p:nvSpPr>
          <p:cNvPr id="75" name="Rechteck 74">
            <a:extLst>
              <a:ext uri="{FF2B5EF4-FFF2-40B4-BE49-F238E27FC236}">
                <a16:creationId xmlns:a16="http://schemas.microsoft.com/office/drawing/2014/main" id="{B74CAE31-2E58-4F12-D8C3-F5450A78E378}"/>
              </a:ext>
            </a:extLst>
          </p:cNvPr>
          <p:cNvSpPr/>
          <p:nvPr/>
        </p:nvSpPr>
        <p:spPr>
          <a:xfrm>
            <a:off x="3557151" y="7197370"/>
            <a:ext cx="3288904"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latin typeface="Epilogue"/>
                <a:cs typeface="Arial"/>
              </a:rPr>
              <a:t>Positive </a:t>
            </a:r>
            <a:r>
              <a:rPr lang="de-DE" sz="1000" err="1">
                <a:solidFill>
                  <a:schemeClr val="tx1"/>
                </a:solidFill>
                <a:latin typeface="Epilogue"/>
                <a:cs typeface="Arial"/>
              </a:rPr>
              <a:t>charge</a:t>
            </a:r>
            <a:r>
              <a:rPr lang="de-DE" sz="1000">
                <a:solidFill>
                  <a:schemeClr val="tx1"/>
                </a:solidFill>
                <a:latin typeface="Epilogue"/>
                <a:cs typeface="Arial"/>
              </a:rPr>
              <a:t> </a:t>
            </a:r>
            <a:r>
              <a:rPr lang="de-DE" sz="1000" err="1">
                <a:solidFill>
                  <a:schemeClr val="tx1"/>
                </a:solidFill>
                <a:latin typeface="Epilogue"/>
                <a:cs typeface="Arial"/>
              </a:rPr>
              <a:t>carriers</a:t>
            </a:r>
            <a:endParaRPr lang="de-DE" sz="1000">
              <a:solidFill>
                <a:schemeClr val="tx1"/>
              </a:solidFill>
              <a:latin typeface="Epilogue"/>
              <a:cs typeface="Arial"/>
            </a:endParaRPr>
          </a:p>
        </p:txBody>
      </p:sp>
      <p:sp>
        <p:nvSpPr>
          <p:cNvPr id="76" name="Rechteck 75">
            <a:extLst>
              <a:ext uri="{FF2B5EF4-FFF2-40B4-BE49-F238E27FC236}">
                <a16:creationId xmlns:a16="http://schemas.microsoft.com/office/drawing/2014/main" id="{7BFC8926-7352-3299-1298-5ED0C349BB06}"/>
              </a:ext>
            </a:extLst>
          </p:cNvPr>
          <p:cNvSpPr/>
          <p:nvPr/>
        </p:nvSpPr>
        <p:spPr>
          <a:xfrm>
            <a:off x="3557150" y="8013015"/>
            <a:ext cx="3288904" cy="295433"/>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Epilogue"/>
                <a:cs typeface="Arial"/>
              </a:rPr>
              <a:t>A particle of light carrying energy</a:t>
            </a:r>
            <a:endParaRPr lang="de-DE" sz="1000">
              <a:solidFill>
                <a:schemeClr val="tx1"/>
              </a:solidFill>
              <a:latin typeface="Epilogue"/>
              <a:cs typeface="Arial"/>
            </a:endParaRPr>
          </a:p>
        </p:txBody>
      </p:sp>
      <p:sp>
        <p:nvSpPr>
          <p:cNvPr id="77" name="Ellipse 76">
            <a:extLst>
              <a:ext uri="{FF2B5EF4-FFF2-40B4-BE49-F238E27FC236}">
                <a16:creationId xmlns:a16="http://schemas.microsoft.com/office/drawing/2014/main" id="{D1AEDF27-E192-C51A-0B97-34DFCB8A937F}"/>
              </a:ext>
            </a:extLst>
          </p:cNvPr>
          <p:cNvSpPr>
            <a:spLocks noChangeAspect="1"/>
          </p:cNvSpPr>
          <p:nvPr/>
        </p:nvSpPr>
        <p:spPr>
          <a:xfrm>
            <a:off x="2704468" y="6699110"/>
            <a:ext cx="180000" cy="18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Ellipse 77">
            <a:extLst>
              <a:ext uri="{FF2B5EF4-FFF2-40B4-BE49-F238E27FC236}">
                <a16:creationId xmlns:a16="http://schemas.microsoft.com/office/drawing/2014/main" id="{6E730989-5A95-5919-3BE7-9C87B8EC0DA8}"/>
              </a:ext>
            </a:extLst>
          </p:cNvPr>
          <p:cNvSpPr>
            <a:spLocks noChangeAspect="1"/>
          </p:cNvSpPr>
          <p:nvPr/>
        </p:nvSpPr>
        <p:spPr>
          <a:xfrm>
            <a:off x="2707656" y="7097124"/>
            <a:ext cx="180000" cy="18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Ellipse 78">
            <a:extLst>
              <a:ext uri="{FF2B5EF4-FFF2-40B4-BE49-F238E27FC236}">
                <a16:creationId xmlns:a16="http://schemas.microsoft.com/office/drawing/2014/main" id="{E51989F0-BCF5-86FD-2DD9-B6992D6C2204}"/>
              </a:ext>
            </a:extLst>
          </p:cNvPr>
          <p:cNvSpPr>
            <a:spLocks noChangeAspect="1"/>
          </p:cNvSpPr>
          <p:nvPr/>
        </p:nvSpPr>
        <p:spPr>
          <a:xfrm>
            <a:off x="2704468" y="7480789"/>
            <a:ext cx="180000" cy="18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Ellipse 79">
            <a:extLst>
              <a:ext uri="{FF2B5EF4-FFF2-40B4-BE49-F238E27FC236}">
                <a16:creationId xmlns:a16="http://schemas.microsoft.com/office/drawing/2014/main" id="{695C7097-C90D-2302-85B1-155C3C2B6176}"/>
              </a:ext>
            </a:extLst>
          </p:cNvPr>
          <p:cNvSpPr>
            <a:spLocks noChangeAspect="1"/>
          </p:cNvSpPr>
          <p:nvPr/>
        </p:nvSpPr>
        <p:spPr>
          <a:xfrm>
            <a:off x="2694645" y="7856757"/>
            <a:ext cx="180000" cy="18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1" name="Ellipse 80">
            <a:extLst>
              <a:ext uri="{FF2B5EF4-FFF2-40B4-BE49-F238E27FC236}">
                <a16:creationId xmlns:a16="http://schemas.microsoft.com/office/drawing/2014/main" id="{D261C677-C2CB-F8D7-1E52-B172477596F3}"/>
              </a:ext>
            </a:extLst>
          </p:cNvPr>
          <p:cNvSpPr>
            <a:spLocks noChangeAspect="1"/>
          </p:cNvSpPr>
          <p:nvPr/>
        </p:nvSpPr>
        <p:spPr>
          <a:xfrm>
            <a:off x="2694645" y="8232725"/>
            <a:ext cx="180000" cy="18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2" name="Ellipse 81">
            <a:extLst>
              <a:ext uri="{FF2B5EF4-FFF2-40B4-BE49-F238E27FC236}">
                <a16:creationId xmlns:a16="http://schemas.microsoft.com/office/drawing/2014/main" id="{4F96C3F8-5188-88DA-78CC-1C508658C145}"/>
              </a:ext>
            </a:extLst>
          </p:cNvPr>
          <p:cNvSpPr>
            <a:spLocks noChangeAspect="1"/>
          </p:cNvSpPr>
          <p:nvPr/>
        </p:nvSpPr>
        <p:spPr>
          <a:xfrm>
            <a:off x="2694645" y="8599667"/>
            <a:ext cx="180000" cy="18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3" name="Ellipse 82">
            <a:extLst>
              <a:ext uri="{FF2B5EF4-FFF2-40B4-BE49-F238E27FC236}">
                <a16:creationId xmlns:a16="http://schemas.microsoft.com/office/drawing/2014/main" id="{06817C47-8E26-ECC2-EFBE-E556F9FC78F4}"/>
              </a:ext>
            </a:extLst>
          </p:cNvPr>
          <p:cNvSpPr>
            <a:spLocks noChangeAspect="1"/>
          </p:cNvSpPr>
          <p:nvPr/>
        </p:nvSpPr>
        <p:spPr>
          <a:xfrm>
            <a:off x="2694645" y="8979678"/>
            <a:ext cx="180000" cy="18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Ellipse 83">
            <a:extLst>
              <a:ext uri="{FF2B5EF4-FFF2-40B4-BE49-F238E27FC236}">
                <a16:creationId xmlns:a16="http://schemas.microsoft.com/office/drawing/2014/main" id="{28F2B167-074B-6217-1042-CBECE00F4564}"/>
              </a:ext>
            </a:extLst>
          </p:cNvPr>
          <p:cNvSpPr>
            <a:spLocks noChangeAspect="1"/>
          </p:cNvSpPr>
          <p:nvPr/>
        </p:nvSpPr>
        <p:spPr>
          <a:xfrm>
            <a:off x="3457389" y="6798758"/>
            <a:ext cx="197671" cy="197671"/>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Ellipse 84">
            <a:extLst>
              <a:ext uri="{FF2B5EF4-FFF2-40B4-BE49-F238E27FC236}">
                <a16:creationId xmlns:a16="http://schemas.microsoft.com/office/drawing/2014/main" id="{B3F7DA25-CEF6-748B-1FBC-9FE608C0ACF6}"/>
              </a:ext>
            </a:extLst>
          </p:cNvPr>
          <p:cNvSpPr>
            <a:spLocks noChangeAspect="1"/>
          </p:cNvSpPr>
          <p:nvPr/>
        </p:nvSpPr>
        <p:spPr>
          <a:xfrm>
            <a:off x="3457389" y="7235925"/>
            <a:ext cx="197671" cy="197671"/>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Ellipse 85">
            <a:extLst>
              <a:ext uri="{FF2B5EF4-FFF2-40B4-BE49-F238E27FC236}">
                <a16:creationId xmlns:a16="http://schemas.microsoft.com/office/drawing/2014/main" id="{178485D6-28FF-72A9-D7CE-3C78CC3F6D43}"/>
              </a:ext>
            </a:extLst>
          </p:cNvPr>
          <p:cNvSpPr>
            <a:spLocks noChangeAspect="1"/>
          </p:cNvSpPr>
          <p:nvPr/>
        </p:nvSpPr>
        <p:spPr>
          <a:xfrm>
            <a:off x="3457389" y="7645091"/>
            <a:ext cx="197671" cy="197671"/>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7" name="Ellipse 86">
            <a:extLst>
              <a:ext uri="{FF2B5EF4-FFF2-40B4-BE49-F238E27FC236}">
                <a16:creationId xmlns:a16="http://schemas.microsoft.com/office/drawing/2014/main" id="{D8CE93D0-8750-9AB8-B841-79BBB8D5FABC}"/>
              </a:ext>
            </a:extLst>
          </p:cNvPr>
          <p:cNvSpPr>
            <a:spLocks noChangeAspect="1"/>
          </p:cNvSpPr>
          <p:nvPr/>
        </p:nvSpPr>
        <p:spPr>
          <a:xfrm>
            <a:off x="3457389" y="8054257"/>
            <a:ext cx="197671" cy="197671"/>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8" name="Ellipse 87">
            <a:extLst>
              <a:ext uri="{FF2B5EF4-FFF2-40B4-BE49-F238E27FC236}">
                <a16:creationId xmlns:a16="http://schemas.microsoft.com/office/drawing/2014/main" id="{114759A9-DB5A-9B6E-7E52-5886B5E37F8D}"/>
              </a:ext>
            </a:extLst>
          </p:cNvPr>
          <p:cNvSpPr>
            <a:spLocks noChangeAspect="1"/>
          </p:cNvSpPr>
          <p:nvPr/>
        </p:nvSpPr>
        <p:spPr>
          <a:xfrm>
            <a:off x="3457389" y="8399661"/>
            <a:ext cx="197671" cy="197671"/>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9" name="Ellipse 88">
            <a:extLst>
              <a:ext uri="{FF2B5EF4-FFF2-40B4-BE49-F238E27FC236}">
                <a16:creationId xmlns:a16="http://schemas.microsoft.com/office/drawing/2014/main" id="{DC1F5318-5BE8-FCE7-44C2-83CDF81910CD}"/>
              </a:ext>
            </a:extLst>
          </p:cNvPr>
          <p:cNvSpPr>
            <a:spLocks noChangeAspect="1"/>
          </p:cNvSpPr>
          <p:nvPr/>
        </p:nvSpPr>
        <p:spPr>
          <a:xfrm>
            <a:off x="3453006" y="8864460"/>
            <a:ext cx="197671" cy="197671"/>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0" name="Ellipse 89">
            <a:extLst>
              <a:ext uri="{FF2B5EF4-FFF2-40B4-BE49-F238E27FC236}">
                <a16:creationId xmlns:a16="http://schemas.microsoft.com/office/drawing/2014/main" id="{61390890-48B1-BA29-D87F-8C5233E4D643}"/>
              </a:ext>
            </a:extLst>
          </p:cNvPr>
          <p:cNvSpPr>
            <a:spLocks noChangeAspect="1"/>
          </p:cNvSpPr>
          <p:nvPr/>
        </p:nvSpPr>
        <p:spPr>
          <a:xfrm>
            <a:off x="3451354" y="9311231"/>
            <a:ext cx="197671" cy="197671"/>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1" name="Untertitel 5">
            <a:extLst>
              <a:ext uri="{FF2B5EF4-FFF2-40B4-BE49-F238E27FC236}">
                <a16:creationId xmlns:a16="http://schemas.microsoft.com/office/drawing/2014/main" id="{F3998B3E-8A1E-449A-9909-ED31AA436E15}"/>
              </a:ext>
            </a:extLst>
          </p:cNvPr>
          <p:cNvSpPr txBox="1">
            <a:spLocks/>
          </p:cNvSpPr>
          <p:nvPr/>
        </p:nvSpPr>
        <p:spPr>
          <a:xfrm>
            <a:off x="725971" y="513694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3</a:t>
            </a:r>
          </a:p>
        </p:txBody>
      </p:sp>
      <p:cxnSp>
        <p:nvCxnSpPr>
          <p:cNvPr id="3" name="Gerader Verbinder 2">
            <a:extLst>
              <a:ext uri="{FF2B5EF4-FFF2-40B4-BE49-F238E27FC236}">
                <a16:creationId xmlns:a16="http://schemas.microsoft.com/office/drawing/2014/main" id="{920A7C0D-5B52-E3F8-080E-1A4612FE3C4A}"/>
              </a:ext>
            </a:extLst>
          </p:cNvPr>
          <p:cNvCxnSpPr>
            <a:cxnSpLocks/>
            <a:stCxn id="77" idx="6"/>
            <a:endCxn id="87" idx="2"/>
          </p:cNvCxnSpPr>
          <p:nvPr/>
        </p:nvCxnSpPr>
        <p:spPr>
          <a:xfrm>
            <a:off x="2884468" y="6789110"/>
            <a:ext cx="572921" cy="136398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946E42E5-FA83-F494-700A-CF579AB67B65}"/>
              </a:ext>
            </a:extLst>
          </p:cNvPr>
          <p:cNvCxnSpPr>
            <a:cxnSpLocks/>
            <a:stCxn id="78" idx="6"/>
            <a:endCxn id="88" idx="3"/>
          </p:cNvCxnSpPr>
          <p:nvPr/>
        </p:nvCxnSpPr>
        <p:spPr>
          <a:xfrm>
            <a:off x="2887656" y="7187124"/>
            <a:ext cx="598681" cy="138126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74FDD6F1-694C-8A38-7292-D0DD7C8F9D2F}"/>
              </a:ext>
            </a:extLst>
          </p:cNvPr>
          <p:cNvCxnSpPr>
            <a:cxnSpLocks/>
            <a:stCxn id="79" idx="6"/>
            <a:endCxn id="86" idx="2"/>
          </p:cNvCxnSpPr>
          <p:nvPr/>
        </p:nvCxnSpPr>
        <p:spPr>
          <a:xfrm>
            <a:off x="2884468" y="7570789"/>
            <a:ext cx="572921" cy="1731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0EC2042E-3AAC-0A06-E795-A3C565803905}"/>
              </a:ext>
            </a:extLst>
          </p:cNvPr>
          <p:cNvCxnSpPr>
            <a:cxnSpLocks/>
            <a:stCxn id="80" idx="6"/>
            <a:endCxn id="85" idx="1"/>
          </p:cNvCxnSpPr>
          <p:nvPr/>
        </p:nvCxnSpPr>
        <p:spPr>
          <a:xfrm flipV="1">
            <a:off x="2874645" y="7264873"/>
            <a:ext cx="611692" cy="68188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4259DC73-AD07-D464-799B-EE5834497B93}"/>
              </a:ext>
            </a:extLst>
          </p:cNvPr>
          <p:cNvCxnSpPr>
            <a:cxnSpLocks/>
            <a:stCxn id="81" idx="6"/>
            <a:endCxn id="90" idx="2"/>
          </p:cNvCxnSpPr>
          <p:nvPr/>
        </p:nvCxnSpPr>
        <p:spPr>
          <a:xfrm>
            <a:off x="2874645" y="8322725"/>
            <a:ext cx="576709" cy="108734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7C64995A-F059-650F-2CD6-057053F64F67}"/>
              </a:ext>
            </a:extLst>
          </p:cNvPr>
          <p:cNvCxnSpPr>
            <a:cxnSpLocks/>
            <a:stCxn id="82" idx="6"/>
            <a:endCxn id="89" idx="2"/>
          </p:cNvCxnSpPr>
          <p:nvPr/>
        </p:nvCxnSpPr>
        <p:spPr>
          <a:xfrm>
            <a:off x="2874645" y="8689667"/>
            <a:ext cx="578361" cy="27362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EF3CE65E-A948-5C6E-E553-447BEF9D6E9A}"/>
              </a:ext>
            </a:extLst>
          </p:cNvPr>
          <p:cNvCxnSpPr>
            <a:cxnSpLocks/>
            <a:stCxn id="83" idx="6"/>
            <a:endCxn id="84" idx="2"/>
          </p:cNvCxnSpPr>
          <p:nvPr/>
        </p:nvCxnSpPr>
        <p:spPr>
          <a:xfrm flipV="1">
            <a:off x="2874645" y="6897594"/>
            <a:ext cx="582744" cy="217208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7836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F1A6E010-F2C4-30C1-0F94-D9140999FBBF}"/>
              </a:ext>
            </a:extLst>
          </p:cNvPr>
          <p:cNvSpPr>
            <a:spLocks noGrp="1"/>
          </p:cNvSpPr>
          <p:nvPr>
            <p:ph type="sldNum" sz="quarter" idx="16"/>
          </p:nvPr>
        </p:nvSpPr>
        <p:spPr/>
        <p:txBody>
          <a:bodyPr/>
          <a:lstStyle/>
          <a:p>
            <a:fld id="{DF7F771E-9578-4C04-B869-01AF4C35C90C}" type="slidenum">
              <a:rPr lang="de-DE" smtClean="0"/>
              <a:t>29</a:t>
            </a:fld>
            <a:endParaRPr lang="de-DE"/>
          </a:p>
        </p:txBody>
      </p:sp>
      <p:pic>
        <p:nvPicPr>
          <p:cNvPr id="58" name="Grafik 57" descr="Ein Bild, das Text, Screenshot, Diagramm, Design enthält.&#10;&#10;Automatisch generierte Beschreibung">
            <a:extLst>
              <a:ext uri="{FF2B5EF4-FFF2-40B4-BE49-F238E27FC236}">
                <a16:creationId xmlns:a16="http://schemas.microsoft.com/office/drawing/2014/main" id="{6F20A653-9FBD-0610-FCFD-11F8D7FC2F44}"/>
              </a:ext>
            </a:extLst>
          </p:cNvPr>
          <p:cNvPicPr>
            <a:picLocks noChangeAspect="1"/>
          </p:cNvPicPr>
          <p:nvPr/>
        </p:nvPicPr>
        <p:blipFill>
          <a:blip r:embed="rId2"/>
          <a:stretch>
            <a:fillRect/>
          </a:stretch>
        </p:blipFill>
        <p:spPr>
          <a:xfrm>
            <a:off x="1072470" y="2276037"/>
            <a:ext cx="2707367" cy="2063037"/>
          </a:xfrm>
          <a:prstGeom prst="rect">
            <a:avLst/>
          </a:prstGeom>
        </p:spPr>
      </p:pic>
      <p:pic>
        <p:nvPicPr>
          <p:cNvPr id="59" name="Picture 1" descr="A diagram of a diagram of a physics experiment&#10;&#10;Description automatically generated with medium confidence">
            <a:extLst>
              <a:ext uri="{FF2B5EF4-FFF2-40B4-BE49-F238E27FC236}">
                <a16:creationId xmlns:a16="http://schemas.microsoft.com/office/drawing/2014/main" id="{FB38FD22-5161-EBDF-15D0-A6BA12C27B05}"/>
              </a:ext>
            </a:extLst>
          </p:cNvPr>
          <p:cNvPicPr>
            <a:picLocks noChangeAspect="1"/>
          </p:cNvPicPr>
          <p:nvPr/>
        </p:nvPicPr>
        <p:blipFill>
          <a:blip r:embed="rId3"/>
          <a:stretch>
            <a:fillRect/>
          </a:stretch>
        </p:blipFill>
        <p:spPr>
          <a:xfrm>
            <a:off x="4256949" y="2681724"/>
            <a:ext cx="2334260" cy="1657350"/>
          </a:xfrm>
          <a:prstGeom prst="rect">
            <a:avLst/>
          </a:prstGeom>
        </p:spPr>
      </p:pic>
      <p:sp>
        <p:nvSpPr>
          <p:cNvPr id="92" name="Untertitel 3">
            <a:extLst>
              <a:ext uri="{FF2B5EF4-FFF2-40B4-BE49-F238E27FC236}">
                <a16:creationId xmlns:a16="http://schemas.microsoft.com/office/drawing/2014/main" id="{35B9F3DD-0C79-62D6-B358-340A86D2EF3A}"/>
              </a:ext>
            </a:extLst>
          </p:cNvPr>
          <p:cNvSpPr txBox="1">
            <a:spLocks/>
          </p:cNvSpPr>
          <p:nvPr/>
        </p:nvSpPr>
        <p:spPr>
          <a:xfrm>
            <a:off x="719138" y="1522161"/>
            <a:ext cx="5868980"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The statements on the next page are about the process of energy generation. Bring them in the correct order by putting number 1-5 in the provided space.</a:t>
            </a:r>
          </a:p>
        </p:txBody>
      </p:sp>
      <p:sp>
        <p:nvSpPr>
          <p:cNvPr id="93" name="Untertitel 5">
            <a:extLst>
              <a:ext uri="{FF2B5EF4-FFF2-40B4-BE49-F238E27FC236}">
                <a16:creationId xmlns:a16="http://schemas.microsoft.com/office/drawing/2014/main" id="{3DDA1D68-3CC0-4418-BD89-B34779F3F4D7}"/>
              </a:ext>
            </a:extLst>
          </p:cNvPr>
          <p:cNvSpPr txBox="1">
            <a:spLocks/>
          </p:cNvSpPr>
          <p:nvPr/>
        </p:nvSpPr>
        <p:spPr>
          <a:xfrm>
            <a:off x="719138" y="108095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4</a:t>
            </a:r>
          </a:p>
        </p:txBody>
      </p:sp>
      <p:pic>
        <p:nvPicPr>
          <p:cNvPr id="7" name="Grafik 6" descr="Lesezeichen mit einfarbiger Füllung">
            <a:extLst>
              <a:ext uri="{FF2B5EF4-FFF2-40B4-BE49-F238E27FC236}">
                <a16:creationId xmlns:a16="http://schemas.microsoft.com/office/drawing/2014/main" id="{B0FB0295-2ADC-4E25-2396-B8B71F0A6B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7377" y="7332691"/>
            <a:ext cx="321040" cy="321040"/>
          </a:xfrm>
          <a:prstGeom prst="rect">
            <a:avLst/>
          </a:prstGeom>
        </p:spPr>
      </p:pic>
      <p:sp>
        <p:nvSpPr>
          <p:cNvPr id="8" name="Untertitel 3">
            <a:extLst>
              <a:ext uri="{FF2B5EF4-FFF2-40B4-BE49-F238E27FC236}">
                <a16:creationId xmlns:a16="http://schemas.microsoft.com/office/drawing/2014/main" id="{4C318811-4B02-EFE4-9FCB-17A95BDE2193}"/>
              </a:ext>
            </a:extLst>
          </p:cNvPr>
          <p:cNvSpPr txBox="1">
            <a:spLocks/>
          </p:cNvSpPr>
          <p:nvPr/>
        </p:nvSpPr>
        <p:spPr>
          <a:xfrm>
            <a:off x="1442906" y="4951542"/>
            <a:ext cx="5145212"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Separation of Charge Carriers: At the </a:t>
            </a:r>
            <a:r>
              <a:rPr lang="en-US" err="1"/>
              <a:t>pn</a:t>
            </a:r>
            <a:r>
              <a:rPr lang="en-US"/>
              <a:t>-junction, electrons and holes are separated; electrons move to the N-layer and holes to the P-layer.</a:t>
            </a:r>
          </a:p>
        </p:txBody>
      </p:sp>
      <p:sp>
        <p:nvSpPr>
          <p:cNvPr id="9" name="Untertitel 3">
            <a:extLst>
              <a:ext uri="{FF2B5EF4-FFF2-40B4-BE49-F238E27FC236}">
                <a16:creationId xmlns:a16="http://schemas.microsoft.com/office/drawing/2014/main" id="{808FC8C1-6B19-D858-C144-1D74C0272CF5}"/>
              </a:ext>
            </a:extLst>
          </p:cNvPr>
          <p:cNvSpPr txBox="1">
            <a:spLocks/>
          </p:cNvSpPr>
          <p:nvPr/>
        </p:nvSpPr>
        <p:spPr>
          <a:xfrm>
            <a:off x="1442906" y="5478878"/>
            <a:ext cx="5145212"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Release of Electrons: The energy from the photons knocks electrons out of the atoms in the semiconductor material.</a:t>
            </a:r>
          </a:p>
        </p:txBody>
      </p:sp>
      <p:sp>
        <p:nvSpPr>
          <p:cNvPr id="10" name="Untertitel 3">
            <a:extLst>
              <a:ext uri="{FF2B5EF4-FFF2-40B4-BE49-F238E27FC236}">
                <a16:creationId xmlns:a16="http://schemas.microsoft.com/office/drawing/2014/main" id="{8FD4D516-8671-5BFB-9298-6499B710F066}"/>
              </a:ext>
            </a:extLst>
          </p:cNvPr>
          <p:cNvSpPr txBox="1">
            <a:spLocks/>
          </p:cNvSpPr>
          <p:nvPr/>
        </p:nvSpPr>
        <p:spPr>
          <a:xfrm>
            <a:off x="1442906" y="6006214"/>
            <a:ext cx="5145212"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Creation of Electron-Hole Pairs: As electrons are released, they leave behind positive charge carriers called holes.</a:t>
            </a:r>
          </a:p>
        </p:txBody>
      </p:sp>
      <p:sp>
        <p:nvSpPr>
          <p:cNvPr id="11" name="Untertitel 3">
            <a:extLst>
              <a:ext uri="{FF2B5EF4-FFF2-40B4-BE49-F238E27FC236}">
                <a16:creationId xmlns:a16="http://schemas.microsoft.com/office/drawing/2014/main" id="{0F53CB3E-1834-51F1-FA07-8B2CE7132561}"/>
              </a:ext>
            </a:extLst>
          </p:cNvPr>
          <p:cNvSpPr txBox="1">
            <a:spLocks/>
          </p:cNvSpPr>
          <p:nvPr/>
        </p:nvSpPr>
        <p:spPr>
          <a:xfrm>
            <a:off x="1442906" y="6533550"/>
            <a:ext cx="5145212"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Absorption of Photons: The PV cell absorbs sunlight, where photons strike the surface.</a:t>
            </a:r>
          </a:p>
        </p:txBody>
      </p:sp>
      <p:sp>
        <p:nvSpPr>
          <p:cNvPr id="12" name="Untertitel 3">
            <a:extLst>
              <a:ext uri="{FF2B5EF4-FFF2-40B4-BE49-F238E27FC236}">
                <a16:creationId xmlns:a16="http://schemas.microsoft.com/office/drawing/2014/main" id="{9FBE7069-0E9C-6D73-9E72-8546D7D8EAFA}"/>
              </a:ext>
            </a:extLst>
          </p:cNvPr>
          <p:cNvSpPr txBox="1">
            <a:spLocks/>
          </p:cNvSpPr>
          <p:nvPr/>
        </p:nvSpPr>
        <p:spPr>
          <a:xfrm>
            <a:off x="1442906" y="7060886"/>
            <a:ext cx="5145212"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Flow of Electrons: The separated electrons flow through the circuit to the electrode, generating electric current. </a:t>
            </a:r>
          </a:p>
          <a:p>
            <a:pPr marL="139700" indent="0"/>
            <a:endParaRPr lang="en-US"/>
          </a:p>
        </p:txBody>
      </p:sp>
      <p:sp>
        <p:nvSpPr>
          <p:cNvPr id="13" name="Ellipse 12">
            <a:extLst>
              <a:ext uri="{FF2B5EF4-FFF2-40B4-BE49-F238E27FC236}">
                <a16:creationId xmlns:a16="http://schemas.microsoft.com/office/drawing/2014/main" id="{69DB7035-0D3A-0A15-9B96-53D67FB9BD3E}"/>
              </a:ext>
            </a:extLst>
          </p:cNvPr>
          <p:cNvSpPr>
            <a:spLocks noChangeAspect="1"/>
          </p:cNvSpPr>
          <p:nvPr/>
        </p:nvSpPr>
        <p:spPr>
          <a:xfrm>
            <a:off x="1133416" y="5058661"/>
            <a:ext cx="360000" cy="36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100">
                <a:solidFill>
                  <a:srgbClr val="FF0000"/>
                </a:solidFill>
                <a:latin typeface="Sofia Sans" panose="020B0604020202020204" charset="0"/>
              </a:rPr>
              <a:t>4</a:t>
            </a:r>
          </a:p>
        </p:txBody>
      </p:sp>
      <p:sp>
        <p:nvSpPr>
          <p:cNvPr id="14" name="Ellipse 13">
            <a:extLst>
              <a:ext uri="{FF2B5EF4-FFF2-40B4-BE49-F238E27FC236}">
                <a16:creationId xmlns:a16="http://schemas.microsoft.com/office/drawing/2014/main" id="{AA0F9261-257C-71BF-0D33-EA276C803AC9}"/>
              </a:ext>
            </a:extLst>
          </p:cNvPr>
          <p:cNvSpPr>
            <a:spLocks noChangeAspect="1"/>
          </p:cNvSpPr>
          <p:nvPr/>
        </p:nvSpPr>
        <p:spPr>
          <a:xfrm>
            <a:off x="1133416" y="5586913"/>
            <a:ext cx="360000" cy="36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100">
                <a:solidFill>
                  <a:srgbClr val="FF0000"/>
                </a:solidFill>
                <a:latin typeface="Sofia Sans" panose="020B0604020202020204" charset="0"/>
              </a:rPr>
              <a:t>2</a:t>
            </a:r>
          </a:p>
        </p:txBody>
      </p:sp>
      <p:sp>
        <p:nvSpPr>
          <p:cNvPr id="16" name="Ellipse 15">
            <a:extLst>
              <a:ext uri="{FF2B5EF4-FFF2-40B4-BE49-F238E27FC236}">
                <a16:creationId xmlns:a16="http://schemas.microsoft.com/office/drawing/2014/main" id="{62462EC9-6F0B-31D0-B4D2-E5EB9EF32BBE}"/>
              </a:ext>
            </a:extLst>
          </p:cNvPr>
          <p:cNvSpPr>
            <a:spLocks noChangeAspect="1"/>
          </p:cNvSpPr>
          <p:nvPr/>
        </p:nvSpPr>
        <p:spPr>
          <a:xfrm>
            <a:off x="1134831" y="6115165"/>
            <a:ext cx="360000" cy="36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100">
                <a:solidFill>
                  <a:srgbClr val="FF0000"/>
                </a:solidFill>
                <a:latin typeface="Sofia Sans" panose="020B0604020202020204" charset="0"/>
              </a:rPr>
              <a:t>3</a:t>
            </a:r>
          </a:p>
        </p:txBody>
      </p:sp>
      <p:sp>
        <p:nvSpPr>
          <p:cNvPr id="17" name="Ellipse 16">
            <a:extLst>
              <a:ext uri="{FF2B5EF4-FFF2-40B4-BE49-F238E27FC236}">
                <a16:creationId xmlns:a16="http://schemas.microsoft.com/office/drawing/2014/main" id="{D29CF1C3-CEDC-6A18-B142-6A6489C7BEDC}"/>
              </a:ext>
            </a:extLst>
          </p:cNvPr>
          <p:cNvSpPr>
            <a:spLocks noChangeAspect="1"/>
          </p:cNvSpPr>
          <p:nvPr/>
        </p:nvSpPr>
        <p:spPr>
          <a:xfrm>
            <a:off x="1132045" y="6641369"/>
            <a:ext cx="360000" cy="36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100">
                <a:solidFill>
                  <a:srgbClr val="FF0000"/>
                </a:solidFill>
                <a:latin typeface="Sofia Sans" panose="020B0604020202020204" charset="0"/>
              </a:rPr>
              <a:t>1</a:t>
            </a:r>
          </a:p>
        </p:txBody>
      </p:sp>
      <p:sp>
        <p:nvSpPr>
          <p:cNvPr id="18" name="Ellipse 17">
            <a:extLst>
              <a:ext uri="{FF2B5EF4-FFF2-40B4-BE49-F238E27FC236}">
                <a16:creationId xmlns:a16="http://schemas.microsoft.com/office/drawing/2014/main" id="{0596379F-D294-5ABA-F11F-F617F3E51FB3}"/>
              </a:ext>
            </a:extLst>
          </p:cNvPr>
          <p:cNvSpPr>
            <a:spLocks noChangeAspect="1"/>
          </p:cNvSpPr>
          <p:nvPr/>
        </p:nvSpPr>
        <p:spPr>
          <a:xfrm>
            <a:off x="1138341" y="7167573"/>
            <a:ext cx="360000" cy="360000"/>
          </a:xfrm>
          <a:prstGeom prst="ellipse">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100">
                <a:solidFill>
                  <a:srgbClr val="FF0000"/>
                </a:solidFill>
                <a:latin typeface="Sofia Sans" panose="020B0604020202020204" charset="0"/>
              </a:rPr>
              <a:t>5</a:t>
            </a:r>
          </a:p>
        </p:txBody>
      </p:sp>
    </p:spTree>
    <p:extLst>
      <p:ext uri="{BB962C8B-B14F-4D97-AF65-F5344CB8AC3E}">
        <p14:creationId xmlns:p14="http://schemas.microsoft.com/office/powerpoint/2010/main" val="36421599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4B82F80D-EBE8-7B85-2225-8FFD69742ED5}"/>
              </a:ext>
            </a:extLst>
          </p:cNvPr>
          <p:cNvSpPr>
            <a:spLocks noGrp="1"/>
          </p:cNvSpPr>
          <p:nvPr>
            <p:ph type="sldNum" sz="quarter" idx="4"/>
          </p:nvPr>
        </p:nvSpPr>
        <p:spPr/>
        <p:txBody>
          <a:bodyPr/>
          <a:lstStyle/>
          <a:p>
            <a:fld id="{DF7F771E-9578-4C04-B869-01AF4C35C90C}" type="slidenum">
              <a:rPr lang="de-DE" smtClean="0"/>
              <a:t>3</a:t>
            </a:fld>
            <a:endParaRPr lang="de-DE"/>
          </a:p>
        </p:txBody>
      </p:sp>
      <p:sp>
        <p:nvSpPr>
          <p:cNvPr id="7" name="Untertitel 3">
            <a:extLst>
              <a:ext uri="{FF2B5EF4-FFF2-40B4-BE49-F238E27FC236}">
                <a16:creationId xmlns:a16="http://schemas.microsoft.com/office/drawing/2014/main" id="{48E25BC3-2A78-5F2C-F720-366C9B167CBD}"/>
              </a:ext>
            </a:extLst>
          </p:cNvPr>
          <p:cNvSpPr txBox="1">
            <a:spLocks/>
          </p:cNvSpPr>
          <p:nvPr/>
        </p:nvSpPr>
        <p:spPr>
          <a:xfrm>
            <a:off x="719137" y="1163782"/>
            <a:ext cx="6194281" cy="804949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sym typeface="Epilogue"/>
              </a:rPr>
              <a:t>You'll find:</a:t>
            </a:r>
          </a:p>
          <a:p>
            <a:pPr>
              <a:buFont typeface="Arial" panose="020B0604020202020204" pitchFamily="34" charset="0"/>
              <a:buChar char="•"/>
            </a:pPr>
            <a:r>
              <a:rPr lang="en-US" i="1">
                <a:sym typeface="Epilogue"/>
              </a:rPr>
              <a:t>Learning Objectives: </a:t>
            </a:r>
            <a:r>
              <a:rPr lang="en-US">
                <a:sym typeface="Epilogue"/>
              </a:rPr>
              <a:t>Clearly defined goals for each chapter to help guide your learning.</a:t>
            </a:r>
          </a:p>
          <a:p>
            <a:pPr>
              <a:buFont typeface="Arial" panose="020B0604020202020204" pitchFamily="34" charset="0"/>
              <a:buChar char="•"/>
            </a:pPr>
            <a:r>
              <a:rPr lang="en-US" i="1">
                <a:sym typeface="Epilogue"/>
              </a:rPr>
              <a:t>Key Terms: </a:t>
            </a:r>
            <a:r>
              <a:rPr lang="en-US">
                <a:sym typeface="Epilogue"/>
              </a:rPr>
              <a:t>Important vocabulary words related to PV energy.</a:t>
            </a:r>
          </a:p>
          <a:p>
            <a:pPr>
              <a:buFont typeface="Arial" panose="020B0604020202020204" pitchFamily="34" charset="0"/>
              <a:buChar char="•"/>
            </a:pPr>
            <a:r>
              <a:rPr lang="en-US" i="1">
                <a:sym typeface="Epilogue"/>
              </a:rPr>
              <a:t>Hands-On Activities</a:t>
            </a:r>
            <a:r>
              <a:rPr lang="en-US">
                <a:sym typeface="Epilogue"/>
              </a:rPr>
              <a:t>: Practical exercises that reinforce the concepts you're learning.</a:t>
            </a:r>
          </a:p>
          <a:p>
            <a:pPr>
              <a:buFont typeface="Arial" panose="020B0604020202020204" pitchFamily="34" charset="0"/>
              <a:buChar char="•"/>
            </a:pPr>
            <a:r>
              <a:rPr lang="en-US" i="1">
                <a:sym typeface="Epilogue"/>
              </a:rPr>
              <a:t>Check Your Understanding</a:t>
            </a:r>
            <a:r>
              <a:rPr lang="en-US">
                <a:sym typeface="Epilogue"/>
              </a:rPr>
              <a:t>: Questions and quizzes to assess your knowledge and understanding of the material.</a:t>
            </a:r>
          </a:p>
          <a:p>
            <a:pPr>
              <a:buFont typeface="Arial" panose="020B0604020202020204" pitchFamily="34" charset="0"/>
              <a:buChar char="•"/>
            </a:pPr>
            <a:r>
              <a:rPr lang="en-US" i="1">
                <a:sym typeface="Epilogue"/>
              </a:rPr>
              <a:t>Project Ideas</a:t>
            </a:r>
            <a:r>
              <a:rPr lang="en-US">
                <a:sym typeface="Epilogue"/>
              </a:rPr>
              <a:t>: Suggestions for projects you can undertake to explore PV energy further.</a:t>
            </a:r>
          </a:p>
          <a:p>
            <a:pPr>
              <a:buFont typeface="Arial" panose="020B0604020202020204" pitchFamily="34" charset="0"/>
              <a:buChar char="•"/>
            </a:pPr>
            <a:endParaRPr lang="en-US">
              <a:sym typeface="Epilogue"/>
            </a:endParaRPr>
          </a:p>
          <a:p>
            <a:pPr marL="139700" indent="0"/>
            <a:r>
              <a:rPr lang="en-US" sz="1488" b="1">
                <a:latin typeface="Epilogue"/>
                <a:sym typeface="Epilogue"/>
              </a:rPr>
              <a:t>Get Ready to Shine!</a:t>
            </a:r>
          </a:p>
          <a:p>
            <a:pPr marL="139700" indent="0"/>
            <a:r>
              <a:rPr lang="en-US">
                <a:sym typeface="Epilogue"/>
              </a:rPr>
              <a:t>By the end of this workbook, you'll have a solid understanding of photovoltaic energy and its potential to shape a sustainable future. You'll be equipped with the knowledge to think critically about energy solutions and the skills to engage in innovative projects. Let's get started on this enlightening journey and discover how we can harness the power of the sun to create a brighter tomorrow!</a:t>
            </a:r>
          </a:p>
          <a:p>
            <a:pPr>
              <a:buSzPts val="1800"/>
            </a:pPr>
            <a:endParaRPr lang="en-US" sz="1488" b="1">
              <a:latin typeface="Epilogue"/>
              <a:sym typeface="Epilogue"/>
            </a:endParaRPr>
          </a:p>
        </p:txBody>
      </p:sp>
    </p:spTree>
    <p:extLst>
      <p:ext uri="{BB962C8B-B14F-4D97-AF65-F5344CB8AC3E}">
        <p14:creationId xmlns:p14="http://schemas.microsoft.com/office/powerpoint/2010/main" val="27388002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31A206EF-6511-25B3-C4A8-7DB292A1586C}"/>
              </a:ext>
            </a:extLst>
          </p:cNvPr>
          <p:cNvSpPr>
            <a:spLocks noGrp="1"/>
          </p:cNvSpPr>
          <p:nvPr>
            <p:ph type="sldNum" sz="quarter" idx="4"/>
          </p:nvPr>
        </p:nvSpPr>
        <p:spPr/>
        <p:txBody>
          <a:bodyPr/>
          <a:lstStyle/>
          <a:p>
            <a:fld id="{DF7F771E-9578-4C04-B869-01AF4C35C90C}" type="slidenum">
              <a:rPr lang="de-DE" smtClean="0"/>
              <a:t>30</a:t>
            </a:fld>
            <a:endParaRPr lang="de-DE"/>
          </a:p>
        </p:txBody>
      </p:sp>
      <p:sp>
        <p:nvSpPr>
          <p:cNvPr id="4" name="Rechteck 3">
            <a:extLst>
              <a:ext uri="{FF2B5EF4-FFF2-40B4-BE49-F238E27FC236}">
                <a16:creationId xmlns:a16="http://schemas.microsoft.com/office/drawing/2014/main" id="{90F82A05-EADF-17DC-F1AE-A1DFDB4A722B}"/>
              </a:ext>
            </a:extLst>
          </p:cNvPr>
          <p:cNvSpPr/>
          <p:nvPr/>
        </p:nvSpPr>
        <p:spPr>
          <a:xfrm>
            <a:off x="719138" y="1273586"/>
            <a:ext cx="5740172" cy="3807678"/>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Ellipse 4">
            <a:extLst>
              <a:ext uri="{FF2B5EF4-FFF2-40B4-BE49-F238E27FC236}">
                <a16:creationId xmlns:a16="http://schemas.microsoft.com/office/drawing/2014/main" id="{E3647C34-6F70-DF14-9989-DA90F546C820}"/>
              </a:ext>
            </a:extLst>
          </p:cNvPr>
          <p:cNvSpPr>
            <a:spLocks noChangeAspect="1"/>
          </p:cNvSpPr>
          <p:nvPr/>
        </p:nvSpPr>
        <p:spPr>
          <a:xfrm>
            <a:off x="6128978" y="954877"/>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Lesezeichen mit einfarbiger Füllung">
            <a:extLst>
              <a:ext uri="{FF2B5EF4-FFF2-40B4-BE49-F238E27FC236}">
                <a16:creationId xmlns:a16="http://schemas.microsoft.com/office/drawing/2014/main" id="{F4A5FA31-E9C0-27D4-C81D-814FBB1B1B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1082724"/>
            <a:ext cx="404450" cy="404450"/>
          </a:xfrm>
          <a:prstGeom prst="rect">
            <a:avLst/>
          </a:prstGeom>
        </p:spPr>
      </p:pic>
      <p:sp>
        <p:nvSpPr>
          <p:cNvPr id="7" name="Untertitel 5">
            <a:extLst>
              <a:ext uri="{FF2B5EF4-FFF2-40B4-BE49-F238E27FC236}">
                <a16:creationId xmlns:a16="http://schemas.microsoft.com/office/drawing/2014/main" id="{DF053F41-B495-34F1-0DD5-DEF8D7B03DC1}"/>
              </a:ext>
            </a:extLst>
          </p:cNvPr>
          <p:cNvSpPr txBox="1">
            <a:spLocks/>
          </p:cNvSpPr>
          <p:nvPr/>
        </p:nvSpPr>
        <p:spPr>
          <a:xfrm>
            <a:off x="894164" y="1373212"/>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8" name="Untertitel 2">
            <a:extLst>
              <a:ext uri="{FF2B5EF4-FFF2-40B4-BE49-F238E27FC236}">
                <a16:creationId xmlns:a16="http://schemas.microsoft.com/office/drawing/2014/main" id="{0DE20400-23C3-7F9A-33E1-AD7ABD851422}"/>
              </a:ext>
            </a:extLst>
          </p:cNvPr>
          <p:cNvSpPr txBox="1">
            <a:spLocks/>
          </p:cNvSpPr>
          <p:nvPr/>
        </p:nvSpPr>
        <p:spPr>
          <a:xfrm>
            <a:off x="1103983" y="1866639"/>
            <a:ext cx="4979684" cy="3103977"/>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Light consists of photons (energy)</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PV cells absorb sunlight, where photons (light particles) transfer their energy to electrons within the cell's semiconductor material (commonly silicon).</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This energy from the absorbed photons excites electrons, freeing them from their atomic bonds and creating electron-hole pairs within the semiconductor.</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These free electrons are driven by an internal electric field created from a </a:t>
            </a:r>
            <a:r>
              <a:rPr lang="en-US" err="1">
                <a:latin typeface="Sofia Sans" panose="020B0604020202020204" charset="0"/>
              </a:rPr>
              <a:t>pn</a:t>
            </a:r>
            <a:r>
              <a:rPr lang="en-US">
                <a:latin typeface="Sofia Sans" panose="020B0604020202020204" charset="0"/>
              </a:rPr>
              <a:t>-junction, where p-type and n-type materials meet in the semiconductor to flow in a particular direction, creating an electric current.</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The electric current is then collected by metal contacts on the top and bottom of the PV cell and routed through an external circuit, powering connected devices or sending energy to the grid.</a:t>
            </a:r>
          </a:p>
          <a:p>
            <a:pPr marL="457200" indent="-317500">
              <a:lnSpc>
                <a:spcPct val="115000"/>
              </a:lnSpc>
              <a:buClr>
                <a:schemeClr val="lt1"/>
              </a:buClr>
              <a:buSzPts val="1400"/>
            </a:pPr>
            <a:endParaRPr lang="en-US">
              <a:latin typeface="Sofia Sans" panose="020B0604020202020204" charset="0"/>
            </a:endParaRPr>
          </a:p>
        </p:txBody>
      </p:sp>
      <p:pic>
        <p:nvPicPr>
          <p:cNvPr id="9" name="Grafik 8" descr="Lesezeichen mit einfarbiger Füllung">
            <a:extLst>
              <a:ext uri="{FF2B5EF4-FFF2-40B4-BE49-F238E27FC236}">
                <a16:creationId xmlns:a16="http://schemas.microsoft.com/office/drawing/2014/main" id="{0F67BA30-A821-26D3-BD84-2892F4E2F02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07377" y="535651"/>
            <a:ext cx="321040" cy="321040"/>
          </a:xfrm>
          <a:prstGeom prst="rect">
            <a:avLst/>
          </a:prstGeom>
        </p:spPr>
      </p:pic>
    </p:spTree>
    <p:extLst>
      <p:ext uri="{BB962C8B-B14F-4D97-AF65-F5344CB8AC3E}">
        <p14:creationId xmlns:p14="http://schemas.microsoft.com/office/powerpoint/2010/main" val="12880723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032BF10C-1BAA-B0F0-7AE9-D805EA8680A1}"/>
              </a:ext>
            </a:extLst>
          </p:cNvPr>
          <p:cNvSpPr>
            <a:spLocks noGrp="1"/>
          </p:cNvSpPr>
          <p:nvPr>
            <p:ph type="sldNum" sz="quarter" idx="16"/>
          </p:nvPr>
        </p:nvSpPr>
        <p:spPr/>
        <p:txBody>
          <a:bodyPr/>
          <a:lstStyle/>
          <a:p>
            <a:fld id="{DF7F771E-9578-4C04-B869-01AF4C35C90C}" type="slidenum">
              <a:rPr lang="de-DE" smtClean="0"/>
              <a:t>31</a:t>
            </a:fld>
            <a:endParaRPr lang="de-DE"/>
          </a:p>
        </p:txBody>
      </p:sp>
      <p:sp>
        <p:nvSpPr>
          <p:cNvPr id="22" name="Untertitel 3">
            <a:extLst>
              <a:ext uri="{FF2B5EF4-FFF2-40B4-BE49-F238E27FC236}">
                <a16:creationId xmlns:a16="http://schemas.microsoft.com/office/drawing/2014/main" id="{EBB702A9-486F-7A0D-CB8F-ECA64DBCD0C3}"/>
              </a:ext>
            </a:extLst>
          </p:cNvPr>
          <p:cNvSpPr txBox="1">
            <a:spLocks/>
          </p:cNvSpPr>
          <p:nvPr/>
        </p:nvSpPr>
        <p:spPr>
          <a:xfrm>
            <a:off x="730527" y="2147163"/>
            <a:ext cx="5832642"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In this chapter, you will find out how pollution affects the performance of PV panels.</a:t>
            </a:r>
            <a:endParaRPr lang="de-DE"/>
          </a:p>
        </p:txBody>
      </p:sp>
      <p:sp>
        <p:nvSpPr>
          <p:cNvPr id="23" name="Untertitel 3">
            <a:extLst>
              <a:ext uri="{FF2B5EF4-FFF2-40B4-BE49-F238E27FC236}">
                <a16:creationId xmlns:a16="http://schemas.microsoft.com/office/drawing/2014/main" id="{1D88F652-1A5D-2AFA-B789-14758404B0DA}"/>
              </a:ext>
            </a:extLst>
          </p:cNvPr>
          <p:cNvSpPr txBox="1">
            <a:spLocks/>
          </p:cNvSpPr>
          <p:nvPr/>
        </p:nvSpPr>
        <p:spPr>
          <a:xfrm>
            <a:off x="589648" y="5452109"/>
            <a:ext cx="6177818" cy="2079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a:t>Follow these steps to conduct the experiment:</a:t>
            </a:r>
          </a:p>
          <a:p>
            <a:pPr>
              <a:buFont typeface="+mj-lt"/>
              <a:buAutoNum type="arabicPeriod"/>
            </a:pPr>
            <a:r>
              <a:rPr lang="en-US"/>
              <a:t>Measure the open-circuit voltage U and the short-circuit current I of the PV panel again.</a:t>
            </a:r>
          </a:p>
          <a:p>
            <a:pPr>
              <a:buFont typeface="+mj-lt"/>
              <a:buAutoNum type="arabicPeriod"/>
            </a:pPr>
            <a:r>
              <a:rPr lang="en-US"/>
              <a:t>Add a Polluted Layer (sprinkle dust on the surface of the panel).</a:t>
            </a:r>
          </a:p>
          <a:p>
            <a:pPr>
              <a:buFont typeface="+mj-lt"/>
              <a:buAutoNum type="arabicPeriod"/>
            </a:pPr>
            <a:r>
              <a:rPr lang="en-US"/>
              <a:t>Measure the voltage U and the current I again.</a:t>
            </a:r>
          </a:p>
          <a:p>
            <a:pPr>
              <a:buFont typeface="+mj-lt"/>
              <a:buAutoNum type="arabicPeriod"/>
            </a:pPr>
            <a:r>
              <a:rPr lang="en-US"/>
              <a:t>Clean the panel.</a:t>
            </a:r>
          </a:p>
          <a:p>
            <a:pPr>
              <a:buFont typeface="+mj-lt"/>
              <a:buAutoNum type="arabicPeriod"/>
            </a:pPr>
            <a:r>
              <a:rPr lang="en-US"/>
              <a:t>Measure the voltage U and the current I again.</a:t>
            </a:r>
          </a:p>
          <a:p>
            <a:pPr>
              <a:buFont typeface="+mj-lt"/>
              <a:buAutoNum type="arabicPeriod"/>
            </a:pPr>
            <a:endParaRPr lang="en-US"/>
          </a:p>
        </p:txBody>
      </p:sp>
      <p:sp>
        <p:nvSpPr>
          <p:cNvPr id="26" name="Titel 1">
            <a:extLst>
              <a:ext uri="{FF2B5EF4-FFF2-40B4-BE49-F238E27FC236}">
                <a16:creationId xmlns:a16="http://schemas.microsoft.com/office/drawing/2014/main" id="{D8244418-9D3F-2A0B-09A3-8C1970BDA425}"/>
              </a:ext>
            </a:extLst>
          </p:cNvPr>
          <p:cNvSpPr txBox="1">
            <a:spLocks/>
          </p:cNvSpPr>
          <p:nvPr/>
        </p:nvSpPr>
        <p:spPr>
          <a:xfrm>
            <a:off x="589648" y="1164191"/>
            <a:ext cx="6364825" cy="63603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r>
              <a:rPr lang="en-US" sz="2800" b="1">
                <a:solidFill>
                  <a:schemeClr val="dk1"/>
                </a:solidFill>
                <a:latin typeface="Epilogue"/>
                <a:sym typeface="Epilogue"/>
              </a:rPr>
              <a:t>5. </a:t>
            </a:r>
            <a:r>
              <a:rPr lang="en-US" sz="2800" b="1">
                <a:solidFill>
                  <a:schemeClr val="dk1"/>
                </a:solidFill>
                <a:latin typeface="Epilogue"/>
              </a:rPr>
              <a:t>Impact of pollution on PV module performance</a:t>
            </a:r>
          </a:p>
          <a:p>
            <a:endParaRPr lang="de-DE" sz="2800" b="1">
              <a:solidFill>
                <a:schemeClr val="dk1"/>
              </a:solidFill>
              <a:latin typeface="Epilogue"/>
              <a:sym typeface="Epilogue"/>
            </a:endParaRPr>
          </a:p>
        </p:txBody>
      </p:sp>
      <p:sp>
        <p:nvSpPr>
          <p:cNvPr id="2" name="Untertitel 5">
            <a:extLst>
              <a:ext uri="{FF2B5EF4-FFF2-40B4-BE49-F238E27FC236}">
                <a16:creationId xmlns:a16="http://schemas.microsoft.com/office/drawing/2014/main" id="{17F8F83B-A0E2-F115-75F9-9A699A63298F}"/>
              </a:ext>
            </a:extLst>
          </p:cNvPr>
          <p:cNvSpPr txBox="1">
            <a:spLocks/>
          </p:cNvSpPr>
          <p:nvPr/>
        </p:nvSpPr>
        <p:spPr>
          <a:xfrm>
            <a:off x="1104692" y="269477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3" name="Ellipse 2">
            <a:extLst>
              <a:ext uri="{FF2B5EF4-FFF2-40B4-BE49-F238E27FC236}">
                <a16:creationId xmlns:a16="http://schemas.microsoft.com/office/drawing/2014/main" id="{6558DA14-B22F-1D8D-15C6-C200D326DB5A}"/>
              </a:ext>
            </a:extLst>
          </p:cNvPr>
          <p:cNvSpPr>
            <a:spLocks noChangeAspect="1"/>
          </p:cNvSpPr>
          <p:nvPr/>
        </p:nvSpPr>
        <p:spPr>
          <a:xfrm>
            <a:off x="730528" y="266528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descr="Lupe mit einfarbiger Füllung">
            <a:extLst>
              <a:ext uri="{FF2B5EF4-FFF2-40B4-BE49-F238E27FC236}">
                <a16:creationId xmlns:a16="http://schemas.microsoft.com/office/drawing/2014/main" id="{E1AAF7F5-C8B7-16CF-4E49-2F98D34FD9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601" y="2728961"/>
            <a:ext cx="333865" cy="333865"/>
          </a:xfrm>
          <a:prstGeom prst="rect">
            <a:avLst/>
          </a:prstGeom>
        </p:spPr>
      </p:pic>
      <p:pic>
        <p:nvPicPr>
          <p:cNvPr id="5" name="Grafik 4" descr="Ein Bild, das Elektronik, Kabel, Elektrische Leitungen, Elektronisches Gerät enthält.&#10;&#10;Beschreibung automatisch generiert.">
            <a:extLst>
              <a:ext uri="{FF2B5EF4-FFF2-40B4-BE49-F238E27FC236}">
                <a16:creationId xmlns:a16="http://schemas.microsoft.com/office/drawing/2014/main" id="{78A89FC6-440B-7967-B7AE-74147CBB3883}"/>
              </a:ext>
            </a:extLst>
          </p:cNvPr>
          <p:cNvPicPr>
            <a:picLocks noChangeAspect="1"/>
          </p:cNvPicPr>
          <p:nvPr/>
        </p:nvPicPr>
        <p:blipFill rotWithShape="1">
          <a:blip r:embed="rId4"/>
          <a:srcRect l="-193" t="-171" r="17568" b="-1314"/>
          <a:stretch/>
        </p:blipFill>
        <p:spPr>
          <a:xfrm rot="5400000">
            <a:off x="2684269" y="7339364"/>
            <a:ext cx="2175581" cy="2025112"/>
          </a:xfrm>
          <a:prstGeom prst="rect">
            <a:avLst/>
          </a:prstGeom>
        </p:spPr>
      </p:pic>
      <p:sp>
        <p:nvSpPr>
          <p:cNvPr id="6" name="Rechteck 5">
            <a:extLst>
              <a:ext uri="{FF2B5EF4-FFF2-40B4-BE49-F238E27FC236}">
                <a16:creationId xmlns:a16="http://schemas.microsoft.com/office/drawing/2014/main" id="{F4B04259-8301-57CB-2160-8513922EB49D}"/>
              </a:ext>
            </a:extLst>
          </p:cNvPr>
          <p:cNvSpPr/>
          <p:nvPr/>
        </p:nvSpPr>
        <p:spPr>
          <a:xfrm>
            <a:off x="724448" y="3331943"/>
            <a:ext cx="5740172" cy="1764978"/>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Untertitel 2">
            <a:extLst>
              <a:ext uri="{FF2B5EF4-FFF2-40B4-BE49-F238E27FC236}">
                <a16:creationId xmlns:a16="http://schemas.microsoft.com/office/drawing/2014/main" id="{12C63A78-44BB-8579-25D6-3E3C5C671748}"/>
              </a:ext>
            </a:extLst>
          </p:cNvPr>
          <p:cNvSpPr txBox="1">
            <a:spLocks/>
          </p:cNvSpPr>
          <p:nvPr/>
        </p:nvSpPr>
        <p:spPr>
          <a:xfrm>
            <a:off x="1104692" y="3857695"/>
            <a:ext cx="4979684" cy="105104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One Lamp, yellow light bulb</a:t>
            </a:r>
          </a:p>
          <a:p>
            <a:pPr>
              <a:buClrTx/>
              <a:buFont typeface="Arial" panose="020B0604020202020204" pitchFamily="34" charset="0"/>
              <a:buChar char="•"/>
            </a:pPr>
            <a:r>
              <a:rPr lang="en-US" sz="1150"/>
              <a:t>PV modules (small or big) </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Light / Pollution filters</a:t>
            </a:r>
          </a:p>
          <a:p>
            <a:pPr>
              <a:buClrTx/>
              <a:buFont typeface="Arial" panose="020B0604020202020204" pitchFamily="34" charset="0"/>
              <a:buChar char="•"/>
            </a:pPr>
            <a:r>
              <a:rPr lang="en-US" sz="1150"/>
              <a:t>Holder for PV panels</a:t>
            </a:r>
          </a:p>
          <a:p>
            <a:pPr>
              <a:buFont typeface="Arial" panose="020B0604020202020204" pitchFamily="34" charset="0"/>
              <a:buChar char="•"/>
            </a:pPr>
            <a:endParaRPr lang="en-US" sz="1150"/>
          </a:p>
        </p:txBody>
      </p:sp>
      <p:sp>
        <p:nvSpPr>
          <p:cNvPr id="8" name="Untertitel 5">
            <a:extLst>
              <a:ext uri="{FF2B5EF4-FFF2-40B4-BE49-F238E27FC236}">
                <a16:creationId xmlns:a16="http://schemas.microsoft.com/office/drawing/2014/main" id="{241F4A99-9762-B802-A212-257FB356D9F4}"/>
              </a:ext>
            </a:extLst>
          </p:cNvPr>
          <p:cNvSpPr txBox="1">
            <a:spLocks/>
          </p:cNvSpPr>
          <p:nvPr/>
        </p:nvSpPr>
        <p:spPr>
          <a:xfrm>
            <a:off x="886599" y="3474666"/>
            <a:ext cx="5076826" cy="36502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10" name="Gruppieren 9">
            <a:extLst>
              <a:ext uri="{FF2B5EF4-FFF2-40B4-BE49-F238E27FC236}">
                <a16:creationId xmlns:a16="http://schemas.microsoft.com/office/drawing/2014/main" id="{479230C6-64A1-23EE-F291-DB07134D299A}"/>
              </a:ext>
            </a:extLst>
          </p:cNvPr>
          <p:cNvGrpSpPr/>
          <p:nvPr/>
        </p:nvGrpSpPr>
        <p:grpSpPr>
          <a:xfrm>
            <a:off x="6364991" y="3143870"/>
            <a:ext cx="402475" cy="365883"/>
            <a:chOff x="6140368" y="3097011"/>
            <a:chExt cx="660145" cy="660145"/>
          </a:xfrm>
        </p:grpSpPr>
        <p:sp>
          <p:nvSpPr>
            <p:cNvPr id="11" name="Ellipse 10">
              <a:extLst>
                <a:ext uri="{FF2B5EF4-FFF2-40B4-BE49-F238E27FC236}">
                  <a16:creationId xmlns:a16="http://schemas.microsoft.com/office/drawing/2014/main" id="{27BCAA5E-C29F-49E7-2790-A67D24A53561}"/>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descr="Inventar mit einfarbiger Füllung">
              <a:extLst>
                <a:ext uri="{FF2B5EF4-FFF2-40B4-BE49-F238E27FC236}">
                  <a16:creationId xmlns:a16="http://schemas.microsoft.com/office/drawing/2014/main" id="{AA5B8C03-5403-6A79-E70B-E30D0A5F3A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41840" y="3198483"/>
              <a:ext cx="457200" cy="457200"/>
            </a:xfrm>
            <a:prstGeom prst="rect">
              <a:avLst/>
            </a:prstGeom>
          </p:spPr>
        </p:pic>
      </p:grpSp>
    </p:spTree>
    <p:extLst>
      <p:ext uri="{BB962C8B-B14F-4D97-AF65-F5344CB8AC3E}">
        <p14:creationId xmlns:p14="http://schemas.microsoft.com/office/powerpoint/2010/main" val="13607380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25F1FD-B735-2323-1229-AE4F74945956}"/>
              </a:ext>
            </a:extLst>
          </p:cNvPr>
          <p:cNvSpPr>
            <a:spLocks noGrp="1"/>
          </p:cNvSpPr>
          <p:nvPr>
            <p:ph type="sldNum" sz="quarter" idx="4"/>
          </p:nvPr>
        </p:nvSpPr>
        <p:spPr/>
        <p:txBody>
          <a:bodyPr/>
          <a:lstStyle/>
          <a:p>
            <a:fld id="{DF7F771E-9578-4C04-B869-01AF4C35C90C}" type="slidenum">
              <a:rPr lang="de-DE" smtClean="0"/>
              <a:t>32</a:t>
            </a:fld>
            <a:endParaRPr lang="de-DE"/>
          </a:p>
        </p:txBody>
      </p:sp>
      <p:sp>
        <p:nvSpPr>
          <p:cNvPr id="5" name="Textfeld 11">
            <a:extLst>
              <a:ext uri="{FF2B5EF4-FFF2-40B4-BE49-F238E27FC236}">
                <a16:creationId xmlns:a16="http://schemas.microsoft.com/office/drawing/2014/main" id="{E87A0BE2-D9AB-3F07-0DD5-53FCAAB7E3D3}"/>
              </a:ext>
            </a:extLst>
          </p:cNvPr>
          <p:cNvSpPr txBox="1"/>
          <p:nvPr/>
        </p:nvSpPr>
        <p:spPr>
          <a:xfrm>
            <a:off x="726549" y="6814945"/>
            <a:ext cx="5919009" cy="1844094"/>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100">
                <a:solidFill>
                  <a:srgbClr val="FF0000"/>
                </a:solidFill>
                <a:latin typeface="Sofia Sans" panose="020B0604020202020204" charset="0"/>
              </a:rPr>
              <a:t>Regular cleaning, especially after significant accumulation of pollutants.</a:t>
            </a:r>
          </a:p>
          <a:p>
            <a:pPr marL="171450" indent="-171450">
              <a:buFont typeface="Arial" panose="020B0604020202020204" pitchFamily="34" charset="0"/>
              <a:buChar char="•"/>
            </a:pPr>
            <a:r>
              <a:rPr lang="en-US" sz="1100">
                <a:solidFill>
                  <a:srgbClr val="FF0000"/>
                </a:solidFill>
                <a:latin typeface="Sofia Sans" panose="020B0604020202020204" charset="0"/>
              </a:rPr>
              <a:t>Installing anti-soiling coatings to reduce dirt adherence.</a:t>
            </a:r>
          </a:p>
          <a:p>
            <a:pPr marL="171450" indent="-171450">
              <a:buFont typeface="Arial" panose="020B0604020202020204" pitchFamily="34" charset="0"/>
              <a:buChar char="•"/>
            </a:pPr>
            <a:r>
              <a:rPr lang="en-US" sz="1100">
                <a:solidFill>
                  <a:srgbClr val="FF0000"/>
                </a:solidFill>
                <a:latin typeface="Sofia Sans" panose="020B0604020202020204" charset="0"/>
              </a:rPr>
              <a:t>Optimizing the installation angle to minimize debris buildup.</a:t>
            </a:r>
          </a:p>
          <a:p>
            <a:pPr marL="171450" indent="-171450">
              <a:buFont typeface="Arial" panose="020B0604020202020204" pitchFamily="34" charset="0"/>
              <a:buChar char="•"/>
            </a:pPr>
            <a:r>
              <a:rPr lang="en-US" sz="1100">
                <a:solidFill>
                  <a:srgbClr val="FF0000"/>
                </a:solidFill>
                <a:latin typeface="Sofia Sans" panose="020B0604020202020204" charset="0"/>
              </a:rPr>
              <a:t>Implementing automated cleaning systems for large solar arrays.</a:t>
            </a:r>
          </a:p>
          <a:p>
            <a:endParaRPr lang="de-DE" sz="1200">
              <a:effectLst/>
              <a:latin typeface="Times New Roman" panose="02020603050405020304" pitchFamily="18" charset="0"/>
              <a:ea typeface="Times New Roman" panose="02020603050405020304" pitchFamily="18" charset="0"/>
            </a:endParaRPr>
          </a:p>
        </p:txBody>
      </p:sp>
      <p:sp>
        <p:nvSpPr>
          <p:cNvPr id="2" name="Untertitel 5">
            <a:extLst>
              <a:ext uri="{FF2B5EF4-FFF2-40B4-BE49-F238E27FC236}">
                <a16:creationId xmlns:a16="http://schemas.microsoft.com/office/drawing/2014/main" id="{2226C690-FDA5-1BF1-07D6-F8A0FE929463}"/>
              </a:ext>
            </a:extLst>
          </p:cNvPr>
          <p:cNvSpPr txBox="1">
            <a:spLocks/>
          </p:cNvSpPr>
          <p:nvPr/>
        </p:nvSpPr>
        <p:spPr>
          <a:xfrm>
            <a:off x="707460" y="591240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2</a:t>
            </a:r>
          </a:p>
        </p:txBody>
      </p:sp>
      <p:sp>
        <p:nvSpPr>
          <p:cNvPr id="12" name="Untertitel 3">
            <a:extLst>
              <a:ext uri="{FF2B5EF4-FFF2-40B4-BE49-F238E27FC236}">
                <a16:creationId xmlns:a16="http://schemas.microsoft.com/office/drawing/2014/main" id="{3CCD2D1A-1DA2-AD54-4F05-393E79DADEA7}"/>
              </a:ext>
            </a:extLst>
          </p:cNvPr>
          <p:cNvSpPr txBox="1">
            <a:spLocks/>
          </p:cNvSpPr>
          <p:nvPr/>
        </p:nvSpPr>
        <p:spPr>
          <a:xfrm>
            <a:off x="717475" y="6289415"/>
            <a:ext cx="5933121"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What can be some strategies to keep PV panels functioning optimally?</a:t>
            </a:r>
          </a:p>
        </p:txBody>
      </p:sp>
      <p:sp>
        <p:nvSpPr>
          <p:cNvPr id="4" name="Untertitel 3">
            <a:extLst>
              <a:ext uri="{FF2B5EF4-FFF2-40B4-BE49-F238E27FC236}">
                <a16:creationId xmlns:a16="http://schemas.microsoft.com/office/drawing/2014/main" id="{0B100EBC-7B68-A345-92A0-145DE6EF14A7}"/>
              </a:ext>
            </a:extLst>
          </p:cNvPr>
          <p:cNvSpPr txBox="1">
            <a:spLocks/>
          </p:cNvSpPr>
          <p:nvPr/>
        </p:nvSpPr>
        <p:spPr>
          <a:xfrm>
            <a:off x="692993" y="3776202"/>
            <a:ext cx="5933121"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Font typeface="Arial" panose="020B0604020202020204" pitchFamily="34" charset="0"/>
              <a:buChar char="•"/>
            </a:pPr>
            <a:r>
              <a:rPr lang="en-US"/>
              <a:t>How did the voltage and the current change?</a:t>
            </a:r>
          </a:p>
          <a:p>
            <a:pPr>
              <a:buFont typeface="Arial" panose="020B0604020202020204" pitchFamily="34" charset="0"/>
              <a:buChar char="•"/>
            </a:pPr>
            <a:r>
              <a:rPr lang="en-US"/>
              <a:t>What effect did cleaning have on the panel’s performance?</a:t>
            </a:r>
          </a:p>
        </p:txBody>
      </p:sp>
      <p:sp>
        <p:nvSpPr>
          <p:cNvPr id="15" name="Untertitel 5">
            <a:extLst>
              <a:ext uri="{FF2B5EF4-FFF2-40B4-BE49-F238E27FC236}">
                <a16:creationId xmlns:a16="http://schemas.microsoft.com/office/drawing/2014/main" id="{CEAC84D0-DFCA-40A2-5EEC-91177B20C404}"/>
              </a:ext>
            </a:extLst>
          </p:cNvPr>
          <p:cNvSpPr txBox="1">
            <a:spLocks/>
          </p:cNvSpPr>
          <p:nvPr/>
        </p:nvSpPr>
        <p:spPr>
          <a:xfrm>
            <a:off x="1118401" y="2688077"/>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6" name="Ellipse 15">
            <a:extLst>
              <a:ext uri="{FF2B5EF4-FFF2-40B4-BE49-F238E27FC236}">
                <a16:creationId xmlns:a16="http://schemas.microsoft.com/office/drawing/2014/main" id="{0CDE5D4B-AE17-D464-D5EA-B0EB957684ED}"/>
              </a:ext>
            </a:extLst>
          </p:cNvPr>
          <p:cNvSpPr>
            <a:spLocks noChangeAspect="1"/>
          </p:cNvSpPr>
          <p:nvPr/>
        </p:nvSpPr>
        <p:spPr>
          <a:xfrm>
            <a:off x="699760" y="268214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Skizze mit einfarbiger Füllung">
            <a:extLst>
              <a:ext uri="{FF2B5EF4-FFF2-40B4-BE49-F238E27FC236}">
                <a16:creationId xmlns:a16="http://schemas.microsoft.com/office/drawing/2014/main" id="{7EF05305-9D3D-CFD5-B906-DB0406163F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4237" y="2745873"/>
            <a:ext cx="379044" cy="379044"/>
          </a:xfrm>
          <a:prstGeom prst="rect">
            <a:avLst/>
          </a:prstGeom>
        </p:spPr>
      </p:pic>
      <p:sp>
        <p:nvSpPr>
          <p:cNvPr id="18" name="Untertitel 5">
            <a:extLst>
              <a:ext uri="{FF2B5EF4-FFF2-40B4-BE49-F238E27FC236}">
                <a16:creationId xmlns:a16="http://schemas.microsoft.com/office/drawing/2014/main" id="{D460B0C8-DDB5-283E-029C-F4E7396BD2D1}"/>
              </a:ext>
            </a:extLst>
          </p:cNvPr>
          <p:cNvSpPr txBox="1">
            <a:spLocks/>
          </p:cNvSpPr>
          <p:nvPr/>
        </p:nvSpPr>
        <p:spPr>
          <a:xfrm>
            <a:off x="674805" y="337576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1</a:t>
            </a:r>
          </a:p>
        </p:txBody>
      </p:sp>
      <p:sp>
        <p:nvSpPr>
          <p:cNvPr id="19" name="Textfeld 11">
            <a:extLst>
              <a:ext uri="{FF2B5EF4-FFF2-40B4-BE49-F238E27FC236}">
                <a16:creationId xmlns:a16="http://schemas.microsoft.com/office/drawing/2014/main" id="{5B957734-2178-F0E4-1BE7-DDE8563D8D35}"/>
              </a:ext>
            </a:extLst>
          </p:cNvPr>
          <p:cNvSpPr txBox="1"/>
          <p:nvPr/>
        </p:nvSpPr>
        <p:spPr>
          <a:xfrm>
            <a:off x="732250" y="4431284"/>
            <a:ext cx="5919009" cy="1374228"/>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100">
                <a:solidFill>
                  <a:srgbClr val="FF0000"/>
                </a:solidFill>
                <a:effectLst/>
                <a:latin typeface="Sofia Sans" panose="020B0604020202020204" charset="0"/>
                <a:ea typeface="Times New Roman" panose="02020603050405020304" pitchFamily="18" charset="0"/>
              </a:rPr>
              <a:t>From this experiment, you should observe that pollution on the PV panels significantly reduces their performance by decreasing both the voltage and the current generated. Cleaning the panels restores their performance, highlighting the importance of regular maintenance to ensure maximum efficiency of PV panels.</a:t>
            </a:r>
          </a:p>
          <a:p>
            <a:r>
              <a:rPr lang="en-US" sz="1100">
                <a:solidFill>
                  <a:srgbClr val="FF0000"/>
                </a:solidFill>
                <a:effectLst/>
                <a:latin typeface="Sofia Sans" panose="020B0604020202020204" charset="0"/>
                <a:ea typeface="Times New Roman" panose="02020603050405020304" pitchFamily="18" charset="0"/>
              </a:rPr>
              <a:t>Pollution such as dust, dirt, and leaves block the sunlight from reaching the solar cells. This reduces the panels’ ability to generate electricity effectively and leads to lower voltage and current output.</a:t>
            </a:r>
          </a:p>
          <a:p>
            <a:endParaRPr lang="de-DE" sz="1200">
              <a:effectLst/>
              <a:latin typeface="Times New Roman" panose="02020603050405020304" pitchFamily="18" charset="0"/>
              <a:ea typeface="Times New Roman" panose="02020603050405020304" pitchFamily="18" charset="0"/>
            </a:endParaRPr>
          </a:p>
        </p:txBody>
      </p:sp>
      <p:graphicFrame>
        <p:nvGraphicFramePr>
          <p:cNvPr id="14" name="Google Shape;630;p38">
            <a:extLst>
              <a:ext uri="{FF2B5EF4-FFF2-40B4-BE49-F238E27FC236}">
                <a16:creationId xmlns:a16="http://schemas.microsoft.com/office/drawing/2014/main" id="{7605043D-A617-B0A0-B9EB-3E5F6C133F6C}"/>
              </a:ext>
            </a:extLst>
          </p:cNvPr>
          <p:cNvGraphicFramePr/>
          <p:nvPr>
            <p:extLst>
              <p:ext uri="{D42A27DB-BD31-4B8C-83A1-F6EECF244321}">
                <p14:modId xmlns:p14="http://schemas.microsoft.com/office/powerpoint/2010/main" val="215105803"/>
              </p:ext>
            </p:extLst>
          </p:nvPr>
        </p:nvGraphicFramePr>
        <p:xfrm>
          <a:off x="732250" y="1277938"/>
          <a:ext cx="5919009" cy="1035346"/>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Distance</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I</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marR="0" lvl="0" indent="0" algn="ctr" rtl="0">
                        <a:lnSpc>
                          <a:spcPct val="115000"/>
                        </a:lnSpc>
                        <a:spcBef>
                          <a:spcPts val="0"/>
                        </a:spcBef>
                        <a:spcAft>
                          <a:spcPts val="0"/>
                        </a:spcAft>
                        <a:buClr>
                          <a:srgbClr val="000000"/>
                        </a:buClr>
                        <a:buFont typeface="Arial"/>
                        <a:buNone/>
                      </a:pPr>
                      <a:r>
                        <a:rPr lang="de-DE" sz="1157" b="0" i="0" u="none" strike="noStrike" cap="none">
                          <a:solidFill>
                            <a:srgbClr val="000000"/>
                          </a:solidFill>
                          <a:effectLst/>
                          <a:latin typeface="Arial"/>
                          <a:ea typeface="Sofia Sans"/>
                          <a:cs typeface="Arial"/>
                          <a:sym typeface="Sofia Sans"/>
                        </a:rPr>
                        <a:t>Non-</a:t>
                      </a:r>
                      <a:r>
                        <a:rPr lang="de-DE" sz="1157" b="0" i="0" u="none" strike="noStrike" cap="none" err="1">
                          <a:solidFill>
                            <a:srgbClr val="000000"/>
                          </a:solidFill>
                          <a:effectLst/>
                          <a:latin typeface="Arial"/>
                          <a:ea typeface="Sofia Sans"/>
                          <a:cs typeface="Arial"/>
                          <a:sym typeface="Sofia Sans"/>
                        </a:rPr>
                        <a:t>polluted</a:t>
                      </a:r>
                      <a:endParaRPr sz="1157" b="0"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en-US" sz="1157" b="0" i="0" u="none" strike="noStrike" cap="none">
                          <a:solidFill>
                            <a:srgbClr val="000000"/>
                          </a:solidFill>
                          <a:effectLst/>
                          <a:latin typeface="Arial"/>
                          <a:ea typeface="Arial"/>
                          <a:cs typeface="Arial"/>
                          <a:sym typeface="Arial"/>
                        </a:rPr>
                        <a:t>Polluted</a:t>
                      </a: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3401926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15733A09-4426-FD53-0A56-8753B570E0A5}"/>
              </a:ext>
            </a:extLst>
          </p:cNvPr>
          <p:cNvSpPr>
            <a:spLocks noGrp="1"/>
          </p:cNvSpPr>
          <p:nvPr>
            <p:ph type="sldNum" sz="quarter" idx="16"/>
          </p:nvPr>
        </p:nvSpPr>
        <p:spPr/>
        <p:txBody>
          <a:bodyPr/>
          <a:lstStyle/>
          <a:p>
            <a:fld id="{DF7F771E-9578-4C04-B869-01AF4C35C90C}" type="slidenum">
              <a:rPr lang="de-DE" smtClean="0"/>
              <a:t>33</a:t>
            </a:fld>
            <a:endParaRPr lang="de-DE"/>
          </a:p>
        </p:txBody>
      </p:sp>
      <p:sp>
        <p:nvSpPr>
          <p:cNvPr id="16" name="Rechteck 15">
            <a:extLst>
              <a:ext uri="{FF2B5EF4-FFF2-40B4-BE49-F238E27FC236}">
                <a16:creationId xmlns:a16="http://schemas.microsoft.com/office/drawing/2014/main" id="{D91308DA-2110-0B45-0B26-E121F76E64CA}"/>
              </a:ext>
            </a:extLst>
          </p:cNvPr>
          <p:cNvSpPr/>
          <p:nvPr/>
        </p:nvSpPr>
        <p:spPr>
          <a:xfrm>
            <a:off x="719138" y="1621590"/>
            <a:ext cx="5740172" cy="2682340"/>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B0EC394D-93A8-790D-3CE5-B42722CC07B8}"/>
              </a:ext>
            </a:extLst>
          </p:cNvPr>
          <p:cNvSpPr>
            <a:spLocks noChangeAspect="1"/>
          </p:cNvSpPr>
          <p:nvPr/>
        </p:nvSpPr>
        <p:spPr>
          <a:xfrm>
            <a:off x="6128978" y="1302881"/>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Grafik 17" descr="Lesezeichen mit einfarbiger Füllung">
            <a:extLst>
              <a:ext uri="{FF2B5EF4-FFF2-40B4-BE49-F238E27FC236}">
                <a16:creationId xmlns:a16="http://schemas.microsoft.com/office/drawing/2014/main" id="{90F16123-5711-F1D6-E05E-DD168A0053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1430728"/>
            <a:ext cx="404450" cy="404450"/>
          </a:xfrm>
          <a:prstGeom prst="rect">
            <a:avLst/>
          </a:prstGeom>
        </p:spPr>
      </p:pic>
      <p:sp>
        <p:nvSpPr>
          <p:cNvPr id="19" name="Untertitel 5">
            <a:extLst>
              <a:ext uri="{FF2B5EF4-FFF2-40B4-BE49-F238E27FC236}">
                <a16:creationId xmlns:a16="http://schemas.microsoft.com/office/drawing/2014/main" id="{9B8AE0C5-C237-19D7-5A36-8A635C152CA2}"/>
              </a:ext>
            </a:extLst>
          </p:cNvPr>
          <p:cNvSpPr txBox="1">
            <a:spLocks/>
          </p:cNvSpPr>
          <p:nvPr/>
        </p:nvSpPr>
        <p:spPr>
          <a:xfrm>
            <a:off x="894164" y="1721216"/>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20" name="Untertitel 2">
            <a:extLst>
              <a:ext uri="{FF2B5EF4-FFF2-40B4-BE49-F238E27FC236}">
                <a16:creationId xmlns:a16="http://schemas.microsoft.com/office/drawing/2014/main" id="{A3D15105-7AF3-5991-13E5-6BC1B1EBBB38}"/>
              </a:ext>
            </a:extLst>
          </p:cNvPr>
          <p:cNvSpPr txBox="1">
            <a:spLocks/>
          </p:cNvSpPr>
          <p:nvPr/>
        </p:nvSpPr>
        <p:spPr>
          <a:xfrm>
            <a:off x="1103983" y="2214644"/>
            <a:ext cx="4979684" cy="92539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pPr>
            <a:endParaRPr lang="en-US"/>
          </a:p>
        </p:txBody>
      </p:sp>
      <p:pic>
        <p:nvPicPr>
          <p:cNvPr id="21" name="Grafik 20" descr="Lesezeichen mit einfarbiger Füllung">
            <a:extLst>
              <a:ext uri="{FF2B5EF4-FFF2-40B4-BE49-F238E27FC236}">
                <a16:creationId xmlns:a16="http://schemas.microsoft.com/office/drawing/2014/main" id="{C8FAE619-63F0-B81E-9AFE-EE6341E2A5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07377" y="1277938"/>
            <a:ext cx="321040" cy="321040"/>
          </a:xfrm>
          <a:prstGeom prst="rect">
            <a:avLst/>
          </a:prstGeom>
        </p:spPr>
      </p:pic>
      <p:sp>
        <p:nvSpPr>
          <p:cNvPr id="22" name="Untertitel 2">
            <a:extLst>
              <a:ext uri="{FF2B5EF4-FFF2-40B4-BE49-F238E27FC236}">
                <a16:creationId xmlns:a16="http://schemas.microsoft.com/office/drawing/2014/main" id="{3217CAE4-727E-902E-01B2-390D4371FDCA}"/>
              </a:ext>
            </a:extLst>
          </p:cNvPr>
          <p:cNvSpPr txBox="1">
            <a:spLocks/>
          </p:cNvSpPr>
          <p:nvPr/>
        </p:nvSpPr>
        <p:spPr>
          <a:xfrm>
            <a:off x="1103983" y="2192032"/>
            <a:ext cx="4979684" cy="199455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Pollution such as dust, dirt, and organic residues on the surface of PV panels blocks sunlight, reducing the panels' ability to effectively convert solar energy into electricity. This leads to a significant drop in both voltage and current output, which in turn decreases the overall efficiency and energy yield of the PV system.</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Regular cleaning and maintenance are essential to prevent and mitigate the effects of pollution on PV panels. Without proper cleaning, accumulated pollutants can cause long-term degradation in panel performance, even affecting the lifespan of the panels.</a:t>
            </a:r>
          </a:p>
          <a:p>
            <a:pPr marL="457200" indent="-317500">
              <a:lnSpc>
                <a:spcPct val="115000"/>
              </a:lnSpc>
              <a:buClr>
                <a:schemeClr val="lt1"/>
              </a:buClr>
              <a:buSzPts val="1400"/>
              <a:buFont typeface="Arial" panose="020B0604020202020204" pitchFamily="34" charset="0"/>
              <a:buChar char="•"/>
            </a:pPr>
            <a:endParaRPr lang="en-US">
              <a:latin typeface="Sofia Sans" panose="020B0604020202020204" charset="0"/>
            </a:endParaRPr>
          </a:p>
          <a:p>
            <a:pPr marL="457200" indent="-317500">
              <a:lnSpc>
                <a:spcPct val="115000"/>
              </a:lnSpc>
              <a:buClr>
                <a:schemeClr val="lt1"/>
              </a:buClr>
              <a:buSzPts val="1400"/>
            </a:pPr>
            <a:endParaRPr lang="en-US">
              <a:latin typeface="Sofia Sans" panose="020B0604020202020204" charset="0"/>
            </a:endParaRPr>
          </a:p>
        </p:txBody>
      </p:sp>
    </p:spTree>
    <p:extLst>
      <p:ext uri="{BB962C8B-B14F-4D97-AF65-F5344CB8AC3E}">
        <p14:creationId xmlns:p14="http://schemas.microsoft.com/office/powerpoint/2010/main" val="17679824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AC591617-3ACF-B467-833C-3C1212E53363}"/>
              </a:ext>
            </a:extLst>
          </p:cNvPr>
          <p:cNvSpPr>
            <a:spLocks noGrp="1"/>
          </p:cNvSpPr>
          <p:nvPr>
            <p:ph type="sldNum" sz="quarter" idx="4"/>
          </p:nvPr>
        </p:nvSpPr>
        <p:spPr/>
        <p:txBody>
          <a:bodyPr/>
          <a:lstStyle/>
          <a:p>
            <a:fld id="{DF7F771E-9578-4C04-B869-01AF4C35C90C}" type="slidenum">
              <a:rPr lang="de-DE" smtClean="0"/>
              <a:t>34</a:t>
            </a:fld>
            <a:endParaRPr lang="de-DE"/>
          </a:p>
        </p:txBody>
      </p:sp>
      <p:sp>
        <p:nvSpPr>
          <p:cNvPr id="7" name="Untertitel 3">
            <a:extLst>
              <a:ext uri="{FF2B5EF4-FFF2-40B4-BE49-F238E27FC236}">
                <a16:creationId xmlns:a16="http://schemas.microsoft.com/office/drawing/2014/main" id="{881F39E1-C159-3282-B992-AE384525C117}"/>
              </a:ext>
            </a:extLst>
          </p:cNvPr>
          <p:cNvSpPr txBox="1">
            <a:spLocks/>
          </p:cNvSpPr>
          <p:nvPr/>
        </p:nvSpPr>
        <p:spPr>
          <a:xfrm>
            <a:off x="730528" y="2196330"/>
            <a:ext cx="5832642" cy="107173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In this chapter, you will find out how shadows affect the performance of PV panels.</a:t>
            </a:r>
          </a:p>
          <a:p>
            <a:pPr marL="133350" indent="9525"/>
            <a:r>
              <a:rPr lang="en-US"/>
              <a:t>This is important because in reality, PV cells often receive less sunlight due to shadows caused by clouds or tall objects such as trees. In the following experiment, we want to find out how much shadows affect the energy flow.</a:t>
            </a:r>
          </a:p>
        </p:txBody>
      </p:sp>
      <p:sp>
        <p:nvSpPr>
          <p:cNvPr id="8" name="Untertitel 3">
            <a:extLst>
              <a:ext uri="{FF2B5EF4-FFF2-40B4-BE49-F238E27FC236}">
                <a16:creationId xmlns:a16="http://schemas.microsoft.com/office/drawing/2014/main" id="{919DF404-A17A-B76E-6AF2-2F83F32804D9}"/>
              </a:ext>
            </a:extLst>
          </p:cNvPr>
          <p:cNvSpPr txBox="1">
            <a:spLocks/>
          </p:cNvSpPr>
          <p:nvPr/>
        </p:nvSpPr>
        <p:spPr>
          <a:xfrm>
            <a:off x="735938" y="6451721"/>
            <a:ext cx="5946718" cy="230182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a:t>Follow these steps to conduct the experiment:</a:t>
            </a:r>
          </a:p>
          <a:p>
            <a:endParaRPr lang="en-US"/>
          </a:p>
          <a:p>
            <a:pPr>
              <a:buFont typeface="+mj-lt"/>
              <a:buAutoNum type="arabicPeriod"/>
            </a:pPr>
            <a:r>
              <a:rPr lang="en-US"/>
              <a:t>Position the PV module securely and connect it to the multimeter.</a:t>
            </a:r>
          </a:p>
          <a:p>
            <a:pPr>
              <a:buFont typeface="+mj-lt"/>
              <a:buAutoNum type="arabicPeriod"/>
            </a:pPr>
            <a:r>
              <a:rPr lang="en-US"/>
              <a:t>Set up the lamp, positioned at the direction of the PV-cell.</a:t>
            </a:r>
          </a:p>
          <a:p>
            <a:pPr>
              <a:buFont typeface="+mj-lt"/>
              <a:buAutoNum type="arabicPeriod"/>
            </a:pPr>
            <a:r>
              <a:rPr lang="en-US"/>
              <a:t>Measure the open-circuit voltage (U) and the short-circuit current (I) with the multimeter while the usual light shines on it. </a:t>
            </a:r>
          </a:p>
          <a:p>
            <a:pPr>
              <a:buFont typeface="+mj-lt"/>
              <a:buAutoNum type="arabicPeriod"/>
            </a:pPr>
            <a:r>
              <a:rPr lang="en-US"/>
              <a:t>Repeat the process but now place your hand between the light source and the PV cell so that a shadow is cast on the PV cell. (see illustration)</a:t>
            </a:r>
          </a:p>
          <a:p>
            <a:pPr>
              <a:buFont typeface="+mj-lt"/>
              <a:buAutoNum type="arabicPeriod"/>
            </a:pPr>
            <a:r>
              <a:rPr lang="en-US"/>
              <a:t>Now measure the open-circuit voltage (U) and the short-circuit current (I) with the multimeter again, while you/or your team partner creates the shadow and record the values in the table under “with shadow”.</a:t>
            </a:r>
          </a:p>
          <a:p>
            <a:pPr>
              <a:buFont typeface="+mj-lt"/>
              <a:buAutoNum type="arabicPeriod"/>
            </a:pPr>
            <a:endParaRPr lang="en-US"/>
          </a:p>
        </p:txBody>
      </p:sp>
      <p:sp>
        <p:nvSpPr>
          <p:cNvPr id="11" name="Titel 1">
            <a:extLst>
              <a:ext uri="{FF2B5EF4-FFF2-40B4-BE49-F238E27FC236}">
                <a16:creationId xmlns:a16="http://schemas.microsoft.com/office/drawing/2014/main" id="{A51BDBFF-BD7C-C93D-8FF8-972CA262DCC9}"/>
              </a:ext>
            </a:extLst>
          </p:cNvPr>
          <p:cNvSpPr txBox="1">
            <a:spLocks/>
          </p:cNvSpPr>
          <p:nvPr/>
        </p:nvSpPr>
        <p:spPr>
          <a:xfrm>
            <a:off x="589648" y="1164191"/>
            <a:ext cx="6364825" cy="63603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r>
              <a:rPr lang="en-US" sz="2800" b="1">
                <a:solidFill>
                  <a:schemeClr val="dk1"/>
                </a:solidFill>
                <a:latin typeface="Epilogue"/>
                <a:sym typeface="Epilogue"/>
              </a:rPr>
              <a:t>6. </a:t>
            </a:r>
            <a:r>
              <a:rPr lang="en-US" sz="2800" b="1">
                <a:solidFill>
                  <a:schemeClr val="dk1"/>
                </a:solidFill>
                <a:latin typeface="Epilogue"/>
              </a:rPr>
              <a:t>Impact of shadows on PV module performance</a:t>
            </a:r>
          </a:p>
          <a:p>
            <a:endParaRPr lang="de-DE" sz="2800" b="1">
              <a:solidFill>
                <a:schemeClr val="dk1"/>
              </a:solidFill>
              <a:latin typeface="Epilogue"/>
              <a:sym typeface="Epilogue"/>
            </a:endParaRPr>
          </a:p>
        </p:txBody>
      </p:sp>
      <p:sp>
        <p:nvSpPr>
          <p:cNvPr id="2" name="Untertitel 5">
            <a:extLst>
              <a:ext uri="{FF2B5EF4-FFF2-40B4-BE49-F238E27FC236}">
                <a16:creationId xmlns:a16="http://schemas.microsoft.com/office/drawing/2014/main" id="{EB5A200E-1BAF-4F16-38CB-AA9A9122E6AA}"/>
              </a:ext>
            </a:extLst>
          </p:cNvPr>
          <p:cNvSpPr txBox="1">
            <a:spLocks/>
          </p:cNvSpPr>
          <p:nvPr/>
        </p:nvSpPr>
        <p:spPr>
          <a:xfrm>
            <a:off x="1104692" y="348334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3" name="Ellipse 2">
            <a:extLst>
              <a:ext uri="{FF2B5EF4-FFF2-40B4-BE49-F238E27FC236}">
                <a16:creationId xmlns:a16="http://schemas.microsoft.com/office/drawing/2014/main" id="{1541DE71-2BD7-1458-075D-51821256478C}"/>
              </a:ext>
            </a:extLst>
          </p:cNvPr>
          <p:cNvSpPr>
            <a:spLocks noChangeAspect="1"/>
          </p:cNvSpPr>
          <p:nvPr/>
        </p:nvSpPr>
        <p:spPr>
          <a:xfrm>
            <a:off x="730528" y="3453847"/>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descr="Lupe mit einfarbiger Füllung">
            <a:extLst>
              <a:ext uri="{FF2B5EF4-FFF2-40B4-BE49-F238E27FC236}">
                <a16:creationId xmlns:a16="http://schemas.microsoft.com/office/drawing/2014/main" id="{472FA5B7-16B5-F2BC-018B-AB2DDFF080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601" y="3517527"/>
            <a:ext cx="333865" cy="333865"/>
          </a:xfrm>
          <a:prstGeom prst="rect">
            <a:avLst/>
          </a:prstGeom>
        </p:spPr>
      </p:pic>
      <p:sp>
        <p:nvSpPr>
          <p:cNvPr id="6" name="Rechteck 5">
            <a:extLst>
              <a:ext uri="{FF2B5EF4-FFF2-40B4-BE49-F238E27FC236}">
                <a16:creationId xmlns:a16="http://schemas.microsoft.com/office/drawing/2014/main" id="{EF0B5A86-467F-D6BF-D740-F020EDA3DB4D}"/>
              </a:ext>
            </a:extLst>
          </p:cNvPr>
          <p:cNvSpPr/>
          <p:nvPr/>
        </p:nvSpPr>
        <p:spPr>
          <a:xfrm>
            <a:off x="719138" y="4222303"/>
            <a:ext cx="5740172" cy="1909098"/>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Untertitel 2">
            <a:extLst>
              <a:ext uri="{FF2B5EF4-FFF2-40B4-BE49-F238E27FC236}">
                <a16:creationId xmlns:a16="http://schemas.microsoft.com/office/drawing/2014/main" id="{ECC6ECCD-796D-DDD8-6283-E1BF7100CFC4}"/>
              </a:ext>
            </a:extLst>
          </p:cNvPr>
          <p:cNvSpPr txBox="1">
            <a:spLocks/>
          </p:cNvSpPr>
          <p:nvPr/>
        </p:nvSpPr>
        <p:spPr>
          <a:xfrm>
            <a:off x="1099382" y="4926389"/>
            <a:ext cx="4979684" cy="100091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One Lamp, yellow light bulb</a:t>
            </a:r>
          </a:p>
          <a:p>
            <a:pPr>
              <a:buClrTx/>
              <a:buFont typeface="Arial" panose="020B0604020202020204" pitchFamily="34" charset="0"/>
              <a:buChar char="•"/>
            </a:pPr>
            <a:r>
              <a:rPr lang="en-US" sz="1150"/>
              <a:t>PV modules (small or big) </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Holder for PV panels</a:t>
            </a:r>
          </a:p>
        </p:txBody>
      </p:sp>
      <p:sp>
        <p:nvSpPr>
          <p:cNvPr id="12" name="Untertitel 5">
            <a:extLst>
              <a:ext uri="{FF2B5EF4-FFF2-40B4-BE49-F238E27FC236}">
                <a16:creationId xmlns:a16="http://schemas.microsoft.com/office/drawing/2014/main" id="{DCBC51A2-6D52-3225-033E-0E55405AED51}"/>
              </a:ext>
            </a:extLst>
          </p:cNvPr>
          <p:cNvSpPr txBox="1">
            <a:spLocks/>
          </p:cNvSpPr>
          <p:nvPr/>
        </p:nvSpPr>
        <p:spPr>
          <a:xfrm>
            <a:off x="881289" y="4365026"/>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13" name="Gruppieren 12">
            <a:extLst>
              <a:ext uri="{FF2B5EF4-FFF2-40B4-BE49-F238E27FC236}">
                <a16:creationId xmlns:a16="http://schemas.microsoft.com/office/drawing/2014/main" id="{5F32A1BD-97D9-B0E7-9658-BC16B8B203DF}"/>
              </a:ext>
            </a:extLst>
          </p:cNvPr>
          <p:cNvGrpSpPr/>
          <p:nvPr/>
        </p:nvGrpSpPr>
        <p:grpSpPr>
          <a:xfrm>
            <a:off x="6262145" y="3997654"/>
            <a:ext cx="402475" cy="419630"/>
            <a:chOff x="6140368" y="3097011"/>
            <a:chExt cx="660145" cy="660145"/>
          </a:xfrm>
        </p:grpSpPr>
        <p:sp>
          <p:nvSpPr>
            <p:cNvPr id="15" name="Ellipse 14">
              <a:extLst>
                <a:ext uri="{FF2B5EF4-FFF2-40B4-BE49-F238E27FC236}">
                  <a16:creationId xmlns:a16="http://schemas.microsoft.com/office/drawing/2014/main" id="{58071DB5-A7EA-3D63-3578-EFFB8440BE61}"/>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descr="Inventar mit einfarbiger Füllung">
              <a:extLst>
                <a:ext uri="{FF2B5EF4-FFF2-40B4-BE49-F238E27FC236}">
                  <a16:creationId xmlns:a16="http://schemas.microsoft.com/office/drawing/2014/main" id="{749E5FEE-0471-4067-8A2F-BC46A605E2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spTree>
    <p:extLst>
      <p:ext uri="{BB962C8B-B14F-4D97-AF65-F5344CB8AC3E}">
        <p14:creationId xmlns:p14="http://schemas.microsoft.com/office/powerpoint/2010/main" val="31090288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06DDDEB7-717D-D512-AFF6-A13EA8FB348F}"/>
              </a:ext>
            </a:extLst>
          </p:cNvPr>
          <p:cNvSpPr>
            <a:spLocks noGrp="1"/>
          </p:cNvSpPr>
          <p:nvPr>
            <p:ph type="sldNum" sz="quarter" idx="16"/>
          </p:nvPr>
        </p:nvSpPr>
        <p:spPr/>
        <p:txBody>
          <a:bodyPr/>
          <a:lstStyle/>
          <a:p>
            <a:fld id="{DF7F771E-9578-4C04-B869-01AF4C35C90C}" type="slidenum">
              <a:rPr lang="de-DE" smtClean="0"/>
              <a:t>35</a:t>
            </a:fld>
            <a:endParaRPr lang="de-DE"/>
          </a:p>
        </p:txBody>
      </p:sp>
      <p:sp>
        <p:nvSpPr>
          <p:cNvPr id="18" name="Untertitel 3">
            <a:extLst>
              <a:ext uri="{FF2B5EF4-FFF2-40B4-BE49-F238E27FC236}">
                <a16:creationId xmlns:a16="http://schemas.microsoft.com/office/drawing/2014/main" id="{449E3B2D-6ABC-3D02-6F29-370045BF4DD3}"/>
              </a:ext>
            </a:extLst>
          </p:cNvPr>
          <p:cNvSpPr txBox="1">
            <a:spLocks/>
          </p:cNvSpPr>
          <p:nvPr/>
        </p:nvSpPr>
        <p:spPr>
          <a:xfrm>
            <a:off x="725936" y="6325146"/>
            <a:ext cx="5933121"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Font typeface="Arial" panose="020B0604020202020204" pitchFamily="34" charset="0"/>
              <a:buChar char="•"/>
            </a:pPr>
            <a:r>
              <a:rPr lang="en-US"/>
              <a:t>How did the voltage and the current change?</a:t>
            </a:r>
          </a:p>
          <a:p>
            <a:pPr>
              <a:buFont typeface="Arial" panose="020B0604020202020204" pitchFamily="34" charset="0"/>
              <a:buChar char="•"/>
            </a:pPr>
            <a:r>
              <a:rPr lang="en-US"/>
              <a:t>What effect did the shadow have on the panel’s performance?</a:t>
            </a:r>
          </a:p>
        </p:txBody>
      </p:sp>
      <p:sp>
        <p:nvSpPr>
          <p:cNvPr id="21" name="Textfeld 11">
            <a:extLst>
              <a:ext uri="{FF2B5EF4-FFF2-40B4-BE49-F238E27FC236}">
                <a16:creationId xmlns:a16="http://schemas.microsoft.com/office/drawing/2014/main" id="{37A9025B-B090-AF48-FB4C-16101F8D3677}"/>
              </a:ext>
            </a:extLst>
          </p:cNvPr>
          <p:cNvSpPr txBox="1"/>
          <p:nvPr/>
        </p:nvSpPr>
        <p:spPr>
          <a:xfrm>
            <a:off x="732991" y="6982988"/>
            <a:ext cx="5919009" cy="1672037"/>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pPr>
            <a:r>
              <a:rPr lang="en-US" sz="1100">
                <a:solidFill>
                  <a:srgbClr val="FF0000"/>
                </a:solidFill>
                <a:latin typeface="Sofia Sans" panose="020B0604020202020204" charset="0"/>
              </a:rPr>
              <a:t>From this experiment, you should observe that shadows cast on PV panels significantly reduce their performance by decreasing both the voltage and the current generated. This demonstrates the sensitivity of PV panels to shading and the importance of maintaining an unobstructed path for sunlight to maximize the energy output of the panels.   </a:t>
            </a:r>
            <a:endParaRPr lang="de-DE" sz="1100">
              <a:solidFill>
                <a:srgbClr val="FF0000"/>
              </a:solidFill>
              <a:latin typeface="Sofia Sans" panose="020B0604020202020204" charset="0"/>
            </a:endParaRPr>
          </a:p>
          <a:p>
            <a:endParaRPr lang="de-DE" sz="1200">
              <a:effectLst/>
              <a:latin typeface="Times New Roman" panose="02020603050405020304" pitchFamily="18" charset="0"/>
              <a:ea typeface="Times New Roman" panose="02020603050405020304" pitchFamily="18" charset="0"/>
            </a:endParaRPr>
          </a:p>
        </p:txBody>
      </p:sp>
      <p:sp>
        <p:nvSpPr>
          <p:cNvPr id="2" name="Untertitel 5">
            <a:extLst>
              <a:ext uri="{FF2B5EF4-FFF2-40B4-BE49-F238E27FC236}">
                <a16:creationId xmlns:a16="http://schemas.microsoft.com/office/drawing/2014/main" id="{6AB6076A-6CF5-7FE3-F6B1-B2C7B96D6063}"/>
              </a:ext>
            </a:extLst>
          </p:cNvPr>
          <p:cNvSpPr txBox="1">
            <a:spLocks/>
          </p:cNvSpPr>
          <p:nvPr/>
        </p:nvSpPr>
        <p:spPr>
          <a:xfrm>
            <a:off x="1162734" y="535184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3" name="Ellipse 2">
            <a:extLst>
              <a:ext uri="{FF2B5EF4-FFF2-40B4-BE49-F238E27FC236}">
                <a16:creationId xmlns:a16="http://schemas.microsoft.com/office/drawing/2014/main" id="{C7509965-CDC3-3A77-0BBF-767459BECF09}"/>
              </a:ext>
            </a:extLst>
          </p:cNvPr>
          <p:cNvSpPr>
            <a:spLocks noChangeAspect="1"/>
          </p:cNvSpPr>
          <p:nvPr/>
        </p:nvSpPr>
        <p:spPr>
          <a:xfrm>
            <a:off x="744093" y="5345906"/>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descr="Skizze mit einfarbiger Füllung">
            <a:extLst>
              <a:ext uri="{FF2B5EF4-FFF2-40B4-BE49-F238E27FC236}">
                <a16:creationId xmlns:a16="http://schemas.microsoft.com/office/drawing/2014/main" id="{8AA972E6-5701-9F04-701D-B43FABCD9F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570" y="5409638"/>
            <a:ext cx="379044" cy="379044"/>
          </a:xfrm>
          <a:prstGeom prst="rect">
            <a:avLst/>
          </a:prstGeom>
        </p:spPr>
      </p:pic>
      <p:sp>
        <p:nvSpPr>
          <p:cNvPr id="5" name="Untertitel 5">
            <a:extLst>
              <a:ext uri="{FF2B5EF4-FFF2-40B4-BE49-F238E27FC236}">
                <a16:creationId xmlns:a16="http://schemas.microsoft.com/office/drawing/2014/main" id="{CCD222B5-6694-652E-7C12-1D11E684A656}"/>
              </a:ext>
            </a:extLst>
          </p:cNvPr>
          <p:cNvSpPr txBox="1">
            <a:spLocks/>
          </p:cNvSpPr>
          <p:nvPr/>
        </p:nvSpPr>
        <p:spPr>
          <a:xfrm>
            <a:off x="719138" y="591369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1</a:t>
            </a:r>
          </a:p>
        </p:txBody>
      </p:sp>
      <p:grpSp>
        <p:nvGrpSpPr>
          <p:cNvPr id="12" name="Gruppieren 11">
            <a:extLst>
              <a:ext uri="{FF2B5EF4-FFF2-40B4-BE49-F238E27FC236}">
                <a16:creationId xmlns:a16="http://schemas.microsoft.com/office/drawing/2014/main" id="{499E88FE-837C-6BC7-0A7C-0F919ACD36E1}"/>
              </a:ext>
            </a:extLst>
          </p:cNvPr>
          <p:cNvGrpSpPr/>
          <p:nvPr/>
        </p:nvGrpSpPr>
        <p:grpSpPr>
          <a:xfrm>
            <a:off x="4974041" y="5483869"/>
            <a:ext cx="1802396" cy="1195893"/>
            <a:chOff x="2414297" y="6387637"/>
            <a:chExt cx="3104422" cy="2039566"/>
          </a:xfrm>
        </p:grpSpPr>
        <p:grpSp>
          <p:nvGrpSpPr>
            <p:cNvPr id="7" name="Gruppieren 6">
              <a:extLst>
                <a:ext uri="{FF2B5EF4-FFF2-40B4-BE49-F238E27FC236}">
                  <a16:creationId xmlns:a16="http://schemas.microsoft.com/office/drawing/2014/main" id="{171D9B4A-49B2-28D1-E8D3-C6DF620DB330}"/>
                </a:ext>
              </a:extLst>
            </p:cNvPr>
            <p:cNvGrpSpPr/>
            <p:nvPr/>
          </p:nvGrpSpPr>
          <p:grpSpPr>
            <a:xfrm>
              <a:off x="3165950" y="6848031"/>
              <a:ext cx="2352769" cy="1579172"/>
              <a:chOff x="3109984" y="7277035"/>
              <a:chExt cx="3117331" cy="2029492"/>
            </a:xfrm>
          </p:grpSpPr>
          <p:pic>
            <p:nvPicPr>
              <p:cNvPr id="8" name="Picture 1311904428">
                <a:extLst>
                  <a:ext uri="{FF2B5EF4-FFF2-40B4-BE49-F238E27FC236}">
                    <a16:creationId xmlns:a16="http://schemas.microsoft.com/office/drawing/2014/main" id="{F6202E28-3A35-63B9-BBEB-7CEC5B274FB9}"/>
                  </a:ext>
                </a:extLst>
              </p:cNvPr>
              <p:cNvPicPr>
                <a:picLocks noChangeAspect="1"/>
              </p:cNvPicPr>
              <p:nvPr/>
            </p:nvPicPr>
            <p:blipFill rotWithShape="1">
              <a:blip r:embed="rId4">
                <a:extLst>
                  <a:ext uri="{28A0092B-C50C-407E-A947-70E740481C1C}">
                    <a14:useLocalDpi xmlns:a14="http://schemas.microsoft.com/office/drawing/2010/main" val="0"/>
                  </a:ext>
                </a:extLst>
              </a:blip>
              <a:srcRect t="40952" b="11677"/>
              <a:stretch/>
            </p:blipFill>
            <p:spPr bwMode="auto">
              <a:xfrm>
                <a:off x="3227575" y="7885397"/>
                <a:ext cx="2999740" cy="1421130"/>
              </a:xfrm>
              <a:prstGeom prst="rect">
                <a:avLst/>
              </a:prstGeom>
              <a:ln>
                <a:noFill/>
              </a:ln>
              <a:extLst>
                <a:ext uri="{53640926-AAD7-44D8-BBD7-CCE9431645EC}">
                  <a14:shadowObscured xmlns:a14="http://schemas.microsoft.com/office/drawing/2010/main"/>
                </a:ext>
              </a:extLst>
            </p:spPr>
          </p:pic>
          <p:pic>
            <p:nvPicPr>
              <p:cNvPr id="9" name="Grafik 8" descr="Ein Bild, das Schwarz, Dunkelheit enthält.&#10;&#10;Automatisch generierte Beschreibung">
                <a:extLst>
                  <a:ext uri="{FF2B5EF4-FFF2-40B4-BE49-F238E27FC236}">
                    <a16:creationId xmlns:a16="http://schemas.microsoft.com/office/drawing/2014/main" id="{AEBD0D67-835B-7793-2EDB-2C6F941556E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725358">
                <a:off x="3980050" y="7929212"/>
                <a:ext cx="1003300" cy="1003300"/>
              </a:xfrm>
              <a:prstGeom prst="rect">
                <a:avLst/>
              </a:prstGeom>
            </p:spPr>
          </p:pic>
          <p:pic>
            <p:nvPicPr>
              <p:cNvPr id="10" name="Grafik 9">
                <a:extLst>
                  <a:ext uri="{FF2B5EF4-FFF2-40B4-BE49-F238E27FC236}">
                    <a16:creationId xmlns:a16="http://schemas.microsoft.com/office/drawing/2014/main" id="{BBA7542F-9C69-A8AB-94D8-83A57083562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773368">
                <a:off x="3109984" y="7277035"/>
                <a:ext cx="1152526" cy="1152526"/>
              </a:xfrm>
              <a:prstGeom prst="rect">
                <a:avLst/>
              </a:prstGeom>
            </p:spPr>
          </p:pic>
        </p:grpSp>
        <p:pic>
          <p:nvPicPr>
            <p:cNvPr id="11" name="Grafik 10" descr="Sonne mit einfarbiger Füllung">
              <a:extLst>
                <a:ext uri="{FF2B5EF4-FFF2-40B4-BE49-F238E27FC236}">
                  <a16:creationId xmlns:a16="http://schemas.microsoft.com/office/drawing/2014/main" id="{463A4490-9E99-C3FA-E6E5-9577DCF091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14297" y="6387637"/>
              <a:ext cx="768055" cy="768055"/>
            </a:xfrm>
            <a:prstGeom prst="rect">
              <a:avLst/>
            </a:prstGeom>
          </p:spPr>
        </p:pic>
      </p:grpSp>
      <p:pic>
        <p:nvPicPr>
          <p:cNvPr id="13" name="Picture 1" descr="A hand on a light bulb&#10;&#10;Description automatically generated">
            <a:extLst>
              <a:ext uri="{FF2B5EF4-FFF2-40B4-BE49-F238E27FC236}">
                <a16:creationId xmlns:a16="http://schemas.microsoft.com/office/drawing/2014/main" id="{EF3AF98F-3706-FC7A-A5B0-33411EB251E3}"/>
              </a:ext>
            </a:extLst>
          </p:cNvPr>
          <p:cNvPicPr>
            <a:picLocks noChangeAspect="1"/>
          </p:cNvPicPr>
          <p:nvPr/>
        </p:nvPicPr>
        <p:blipFill rotWithShape="1">
          <a:blip r:embed="rId9"/>
          <a:srcRect l="11659" r="7757"/>
          <a:stretch/>
        </p:blipFill>
        <p:spPr>
          <a:xfrm rot="5400000">
            <a:off x="2751271" y="1369657"/>
            <a:ext cx="2057134" cy="1914604"/>
          </a:xfrm>
          <a:prstGeom prst="rect">
            <a:avLst/>
          </a:prstGeom>
          <a:ln w="38100">
            <a:noFill/>
          </a:ln>
        </p:spPr>
      </p:pic>
      <p:graphicFrame>
        <p:nvGraphicFramePr>
          <p:cNvPr id="14" name="Google Shape;630;p38">
            <a:extLst>
              <a:ext uri="{FF2B5EF4-FFF2-40B4-BE49-F238E27FC236}">
                <a16:creationId xmlns:a16="http://schemas.microsoft.com/office/drawing/2014/main" id="{1C3F5543-D11F-61A8-09AA-D96E2A9AC06B}"/>
              </a:ext>
            </a:extLst>
          </p:cNvPr>
          <p:cNvGraphicFramePr/>
          <p:nvPr>
            <p:extLst>
              <p:ext uri="{D42A27DB-BD31-4B8C-83A1-F6EECF244321}">
                <p14:modId xmlns:p14="http://schemas.microsoft.com/office/powerpoint/2010/main" val="3011969160"/>
              </p:ext>
            </p:extLst>
          </p:nvPr>
        </p:nvGraphicFramePr>
        <p:xfrm>
          <a:off x="719138" y="3715756"/>
          <a:ext cx="5919009" cy="1035346"/>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Light</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I</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marR="0" lvl="0" indent="0" algn="ctr" rtl="0">
                        <a:lnSpc>
                          <a:spcPct val="115000"/>
                        </a:lnSpc>
                        <a:spcBef>
                          <a:spcPts val="0"/>
                        </a:spcBef>
                        <a:spcAft>
                          <a:spcPts val="0"/>
                        </a:spcAft>
                        <a:buClr>
                          <a:srgbClr val="000000"/>
                        </a:buClr>
                        <a:buFont typeface="Arial"/>
                        <a:buNone/>
                      </a:pPr>
                      <a:r>
                        <a:rPr lang="de-DE" sz="1157" b="0" i="0" u="none" strike="noStrike" cap="none">
                          <a:solidFill>
                            <a:srgbClr val="000000"/>
                          </a:solidFill>
                          <a:effectLst/>
                          <a:latin typeface="Arial"/>
                          <a:ea typeface="Sofia Sans"/>
                          <a:cs typeface="Arial"/>
                          <a:sym typeface="Sofia Sans"/>
                        </a:rPr>
                        <a:t>Normal </a:t>
                      </a:r>
                      <a:endParaRPr sz="1157" b="0"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en-US" sz="1157" b="0" i="0" u="none" strike="noStrike" cap="none">
                          <a:solidFill>
                            <a:srgbClr val="000000"/>
                          </a:solidFill>
                          <a:effectLst/>
                          <a:latin typeface="Arial"/>
                          <a:ea typeface="Sofia Sans"/>
                          <a:cs typeface="Arial"/>
                          <a:sym typeface="Arial"/>
                        </a:rPr>
                        <a:t>With shadow</a:t>
                      </a: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7902156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A113C18-1AD9-D236-EB16-CC0C1F621E9B}"/>
              </a:ext>
            </a:extLst>
          </p:cNvPr>
          <p:cNvSpPr>
            <a:spLocks noGrp="1"/>
          </p:cNvSpPr>
          <p:nvPr>
            <p:ph type="sldNum" sz="quarter" idx="4"/>
          </p:nvPr>
        </p:nvSpPr>
        <p:spPr/>
        <p:txBody>
          <a:bodyPr/>
          <a:lstStyle/>
          <a:p>
            <a:fld id="{DF7F771E-9578-4C04-B869-01AF4C35C90C}" type="slidenum">
              <a:rPr lang="de-DE" smtClean="0"/>
              <a:t>36</a:t>
            </a:fld>
            <a:endParaRPr lang="de-DE"/>
          </a:p>
        </p:txBody>
      </p:sp>
      <p:pic>
        <p:nvPicPr>
          <p:cNvPr id="5" name="Grafik 4" descr="Ein Bild, das Screenshot enthält.&#10;&#10;Automatisch generierte Beschreibung">
            <a:extLst>
              <a:ext uri="{FF2B5EF4-FFF2-40B4-BE49-F238E27FC236}">
                <a16:creationId xmlns:a16="http://schemas.microsoft.com/office/drawing/2014/main" id="{4620EE26-8845-FEE6-1BED-E7D4AC9E1E9B}"/>
              </a:ext>
            </a:extLst>
          </p:cNvPr>
          <p:cNvPicPr>
            <a:picLocks noChangeAspect="1"/>
          </p:cNvPicPr>
          <p:nvPr/>
        </p:nvPicPr>
        <p:blipFill rotWithShape="1">
          <a:blip r:embed="rId2"/>
          <a:srcRect b="15435"/>
          <a:stretch/>
        </p:blipFill>
        <p:spPr bwMode="auto">
          <a:xfrm>
            <a:off x="906367" y="5144613"/>
            <a:ext cx="5760720" cy="2550160"/>
          </a:xfrm>
          <a:prstGeom prst="rect">
            <a:avLst/>
          </a:prstGeom>
          <a:ln>
            <a:noFill/>
          </a:ln>
          <a:extLst>
            <a:ext uri="{53640926-AAD7-44D8-BBD7-CCE9431645EC}">
              <a14:shadowObscured xmlns:a14="http://schemas.microsoft.com/office/drawing/2010/main"/>
            </a:ext>
          </a:extLst>
        </p:spPr>
      </p:pic>
      <p:sp>
        <p:nvSpPr>
          <p:cNvPr id="6" name="Rechteck 5">
            <a:extLst>
              <a:ext uri="{FF2B5EF4-FFF2-40B4-BE49-F238E27FC236}">
                <a16:creationId xmlns:a16="http://schemas.microsoft.com/office/drawing/2014/main" id="{E0886FD1-3570-AFF3-E62B-F100A49775F9}"/>
              </a:ext>
            </a:extLst>
          </p:cNvPr>
          <p:cNvSpPr/>
          <p:nvPr/>
        </p:nvSpPr>
        <p:spPr>
          <a:xfrm>
            <a:off x="1009358" y="7817980"/>
            <a:ext cx="1435932" cy="887508"/>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1"/>
                </a:solidFill>
                <a:latin typeface="Epilogue"/>
                <a:cs typeface="Arial"/>
              </a:rPr>
              <a:t>Entire module not shaded: no bypass diode active, 100% of power.</a:t>
            </a:r>
            <a:endParaRPr lang="de-DE" sz="1000">
              <a:solidFill>
                <a:schemeClr val="accent1"/>
              </a:solidFill>
              <a:latin typeface="Epilogue"/>
              <a:cs typeface="Arial"/>
            </a:endParaRPr>
          </a:p>
        </p:txBody>
      </p:sp>
      <p:sp>
        <p:nvSpPr>
          <p:cNvPr id="7" name="Rechteck 6">
            <a:extLst>
              <a:ext uri="{FF2B5EF4-FFF2-40B4-BE49-F238E27FC236}">
                <a16:creationId xmlns:a16="http://schemas.microsoft.com/office/drawing/2014/main" id="{2B91AD57-056A-C33F-AB94-086DA8978F65}"/>
              </a:ext>
            </a:extLst>
          </p:cNvPr>
          <p:cNvSpPr/>
          <p:nvPr/>
        </p:nvSpPr>
        <p:spPr>
          <a:xfrm>
            <a:off x="3068761" y="7817979"/>
            <a:ext cx="1435932" cy="887508"/>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1"/>
                </a:solidFill>
                <a:latin typeface="Epilogue"/>
                <a:cs typeface="Arial"/>
              </a:rPr>
              <a:t>Right side shaded: one bypass diode active, 66% of the power.</a:t>
            </a:r>
            <a:endParaRPr lang="de-DE" sz="1000">
              <a:solidFill>
                <a:schemeClr val="accent1"/>
              </a:solidFill>
              <a:latin typeface="Epilogue"/>
              <a:cs typeface="Arial"/>
            </a:endParaRPr>
          </a:p>
        </p:txBody>
      </p:sp>
      <p:sp>
        <p:nvSpPr>
          <p:cNvPr id="8" name="Rechteck 7">
            <a:extLst>
              <a:ext uri="{FF2B5EF4-FFF2-40B4-BE49-F238E27FC236}">
                <a16:creationId xmlns:a16="http://schemas.microsoft.com/office/drawing/2014/main" id="{005ACFDE-7F3C-7BE1-8920-444901DA4419}"/>
              </a:ext>
            </a:extLst>
          </p:cNvPr>
          <p:cNvSpPr/>
          <p:nvPr/>
        </p:nvSpPr>
        <p:spPr>
          <a:xfrm>
            <a:off x="5128164" y="7817978"/>
            <a:ext cx="1435932" cy="887508"/>
          </a:xfrm>
          <a:prstGeom prst="rect">
            <a:avLst/>
          </a:prstGeom>
          <a:solidFill>
            <a:srgbClr val="FFFFFF"/>
          </a:solidFill>
          <a:ln w="12700">
            <a:solidFill>
              <a:schemeClr val="tx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1"/>
                </a:solidFill>
                <a:latin typeface="Epilogue"/>
                <a:cs typeface="Arial"/>
              </a:rPr>
              <a:t>Centre and right side shaded: two bypass diodes active, 33% of power.</a:t>
            </a:r>
          </a:p>
        </p:txBody>
      </p:sp>
      <p:sp>
        <p:nvSpPr>
          <p:cNvPr id="4" name="Untertitel 3">
            <a:extLst>
              <a:ext uri="{FF2B5EF4-FFF2-40B4-BE49-F238E27FC236}">
                <a16:creationId xmlns:a16="http://schemas.microsoft.com/office/drawing/2014/main" id="{BB9C1EDD-6040-E393-2638-177A16B648BC}"/>
              </a:ext>
            </a:extLst>
          </p:cNvPr>
          <p:cNvSpPr txBox="1">
            <a:spLocks/>
          </p:cNvSpPr>
          <p:nvPr/>
        </p:nvSpPr>
        <p:spPr>
          <a:xfrm>
            <a:off x="736894" y="3142105"/>
            <a:ext cx="5933121" cy="162059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To prevent the negative effects of shading, bypass diodes are used. A bypass diode is an essential component in solar modules. It acts as a protective mechanism by diverting the current flow around solar cells or module sections with lower performance. This enables a better power yield from the remaining cells and increases the reliability and efficiency of the entire solar module. Thanks to the bypass diodes, solar modules can achieve high performance even when they are in the shade or shadow.</a:t>
            </a:r>
          </a:p>
        </p:txBody>
      </p:sp>
      <p:sp>
        <p:nvSpPr>
          <p:cNvPr id="11" name="Untertitel 5">
            <a:extLst>
              <a:ext uri="{FF2B5EF4-FFF2-40B4-BE49-F238E27FC236}">
                <a16:creationId xmlns:a16="http://schemas.microsoft.com/office/drawing/2014/main" id="{B327AA39-CAA9-3047-AA47-CA5DF2986370}"/>
              </a:ext>
            </a:extLst>
          </p:cNvPr>
          <p:cNvSpPr txBox="1">
            <a:spLocks/>
          </p:cNvSpPr>
          <p:nvPr/>
        </p:nvSpPr>
        <p:spPr>
          <a:xfrm>
            <a:off x="775961" y="2704023"/>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err="1">
                <a:solidFill>
                  <a:schemeClr val="accent2"/>
                </a:solidFill>
              </a:rPr>
              <a:t>Good</a:t>
            </a:r>
            <a:r>
              <a:rPr lang="de-DE" sz="1200">
                <a:solidFill>
                  <a:schemeClr val="accent2"/>
                </a:solidFill>
              </a:rPr>
              <a:t> </a:t>
            </a:r>
            <a:r>
              <a:rPr lang="de-DE" sz="1200" err="1">
                <a:solidFill>
                  <a:schemeClr val="accent2"/>
                </a:solidFill>
              </a:rPr>
              <a:t>to</a:t>
            </a:r>
            <a:r>
              <a:rPr lang="de-DE" sz="1200">
                <a:solidFill>
                  <a:schemeClr val="accent2"/>
                </a:solidFill>
              </a:rPr>
              <a:t> </a:t>
            </a:r>
            <a:r>
              <a:rPr lang="de-DE" sz="1200" err="1">
                <a:solidFill>
                  <a:schemeClr val="accent2"/>
                </a:solidFill>
              </a:rPr>
              <a:t>know</a:t>
            </a:r>
            <a:endParaRPr lang="de-DE" sz="1200">
              <a:solidFill>
                <a:schemeClr val="accent2"/>
              </a:solidFill>
            </a:endParaRPr>
          </a:p>
        </p:txBody>
      </p:sp>
      <p:sp>
        <p:nvSpPr>
          <p:cNvPr id="12" name="Untertitel 3">
            <a:extLst>
              <a:ext uri="{FF2B5EF4-FFF2-40B4-BE49-F238E27FC236}">
                <a16:creationId xmlns:a16="http://schemas.microsoft.com/office/drawing/2014/main" id="{97F1040F-7074-E0D4-3567-D08560238F92}"/>
              </a:ext>
            </a:extLst>
          </p:cNvPr>
          <p:cNvSpPr txBox="1">
            <a:spLocks/>
          </p:cNvSpPr>
          <p:nvPr/>
        </p:nvSpPr>
        <p:spPr>
          <a:xfrm>
            <a:off x="737513" y="1293611"/>
            <a:ext cx="5933121" cy="109835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3350" indent="0"/>
            <a:r>
              <a:rPr lang="en-US"/>
              <a:t>The shadow cast by your hand, or objects such as clouds and trees, block the PV-cells and therefore reduce the amount of sunlight that are reached by the rest of the PV cells. This also reduces the amount of energy absorbed dramatically.</a:t>
            </a:r>
          </a:p>
          <a:p>
            <a:endParaRPr lang="en-US"/>
          </a:p>
          <a:p>
            <a:r>
              <a:rPr lang="en-US"/>
              <a:t>You can see this better in the following figures: </a:t>
            </a:r>
          </a:p>
          <a:p>
            <a:r>
              <a:rPr lang="en-US"/>
              <a:t> </a:t>
            </a:r>
          </a:p>
          <a:p>
            <a:endParaRPr lang="en-US"/>
          </a:p>
        </p:txBody>
      </p:sp>
    </p:spTree>
    <p:extLst>
      <p:ext uri="{BB962C8B-B14F-4D97-AF65-F5344CB8AC3E}">
        <p14:creationId xmlns:p14="http://schemas.microsoft.com/office/powerpoint/2010/main" val="39448946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feld 11">
            <a:extLst>
              <a:ext uri="{FF2B5EF4-FFF2-40B4-BE49-F238E27FC236}">
                <a16:creationId xmlns:a16="http://schemas.microsoft.com/office/drawing/2014/main" id="{F81C73DA-696C-4FAC-5FC0-3BCF2FAD48B5}"/>
              </a:ext>
            </a:extLst>
          </p:cNvPr>
          <p:cNvSpPr txBox="1"/>
          <p:nvPr/>
        </p:nvSpPr>
        <p:spPr>
          <a:xfrm>
            <a:off x="719138" y="2245691"/>
            <a:ext cx="5919009" cy="4528999"/>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39700">
              <a:lnSpc>
                <a:spcPct val="115000"/>
              </a:lnSpc>
              <a:buClr>
                <a:schemeClr val="lt1"/>
              </a:buClr>
              <a:buSzPts val="1400"/>
            </a:pPr>
            <a:r>
              <a:rPr lang="en-US" sz="1100">
                <a:solidFill>
                  <a:srgbClr val="FF0000"/>
                </a:solidFill>
                <a:latin typeface="Sofia Sans" panose="020B0604020202020204" charset="0"/>
              </a:rPr>
              <a:t>Optimal Placement and Orientation:</a:t>
            </a:r>
            <a:endParaRPr lang="de-DE" sz="1100">
              <a:solidFill>
                <a:srgbClr val="FF0000"/>
              </a:solidFill>
              <a:latin typeface="Sofia Sans" panose="020B0604020202020204" charset="0"/>
            </a:endParaRPr>
          </a:p>
          <a:p>
            <a:pPr marL="457200" lvl="0" indent="-317500">
              <a:lnSpc>
                <a:spcPct val="115000"/>
              </a:lnSpc>
              <a:buClr>
                <a:schemeClr val="lt1"/>
              </a:buClr>
              <a:buSzPts val="1400"/>
              <a:buFont typeface="Arial" panose="020B0604020202020204" pitchFamily="34" charset="0"/>
              <a:buChar char="•"/>
            </a:pPr>
            <a:r>
              <a:rPr lang="en-US" sz="1100">
                <a:solidFill>
                  <a:srgbClr val="FF0000"/>
                </a:solidFill>
                <a:latin typeface="Sofia Sans" panose="020B0604020202020204" charset="0"/>
              </a:rPr>
              <a:t>Position Panels in Open Areas: Install PV panels in open areas where they are less likely to be obstructed by buildings, trees, or other structures.</a:t>
            </a:r>
            <a:endParaRPr lang="de-DE" sz="1100">
              <a:solidFill>
                <a:srgbClr val="FF0000"/>
              </a:solidFill>
              <a:latin typeface="Sofia Sans" panose="020B0604020202020204" charset="0"/>
            </a:endParaRPr>
          </a:p>
          <a:p>
            <a:pPr marL="457200" lvl="0" indent="-317500">
              <a:lnSpc>
                <a:spcPct val="115000"/>
              </a:lnSpc>
              <a:buClr>
                <a:schemeClr val="lt1"/>
              </a:buClr>
              <a:buSzPts val="1400"/>
              <a:buFont typeface="Arial" panose="020B0604020202020204" pitchFamily="34" charset="0"/>
              <a:buChar char="•"/>
            </a:pPr>
            <a:r>
              <a:rPr lang="en-US" sz="1100">
                <a:solidFill>
                  <a:srgbClr val="FF0000"/>
                </a:solidFill>
                <a:latin typeface="Sofia Sans" panose="020B0604020202020204" charset="0"/>
              </a:rPr>
              <a:t>Orient Panels Toward the Equator: As previously mentioned, in the Northern Hemisphere, face panels south, and in the Southern Hemisphere, face panels north to maximize sunlight exposure.</a:t>
            </a:r>
            <a:endParaRPr lang="de-DE" sz="1100">
              <a:solidFill>
                <a:srgbClr val="FF0000"/>
              </a:solidFill>
              <a:latin typeface="Sofia Sans" panose="020B0604020202020204" charset="0"/>
            </a:endParaRPr>
          </a:p>
          <a:p>
            <a:pPr marL="139700">
              <a:lnSpc>
                <a:spcPct val="115000"/>
              </a:lnSpc>
              <a:buClr>
                <a:schemeClr val="lt1"/>
              </a:buClr>
              <a:buSzPts val="1400"/>
            </a:pPr>
            <a:r>
              <a:rPr lang="en-US" sz="1100">
                <a:solidFill>
                  <a:srgbClr val="FF0000"/>
                </a:solidFill>
                <a:latin typeface="Sofia Sans" panose="020B0604020202020204" charset="0"/>
              </a:rPr>
              <a:t>Site Assessment and Planning:</a:t>
            </a:r>
          </a:p>
          <a:p>
            <a:pPr marL="311150" indent="-171450">
              <a:lnSpc>
                <a:spcPct val="115000"/>
              </a:lnSpc>
              <a:buClr>
                <a:schemeClr val="lt1"/>
              </a:buClr>
              <a:buSzPts val="1400"/>
              <a:buFont typeface="Arial" panose="020B0604020202020204" pitchFamily="34" charset="0"/>
              <a:buChar char="•"/>
            </a:pPr>
            <a:r>
              <a:rPr lang="en-US" sz="1100">
                <a:solidFill>
                  <a:srgbClr val="FF0000"/>
                </a:solidFill>
                <a:latin typeface="Sofia Sans" panose="020B0604020202020204" charset="0"/>
              </a:rPr>
              <a:t>Conduct a Shading Analysis: Before installation, use tools like shading analysis software to predict shadow patterns throughout the day and year. This helps in choosing the best locations for PV panels.</a:t>
            </a:r>
            <a:endParaRPr lang="de-DE" sz="1100">
              <a:solidFill>
                <a:srgbClr val="FF0000"/>
              </a:solidFill>
              <a:latin typeface="Sofia Sans" panose="020B0604020202020204" charset="0"/>
            </a:endParaRPr>
          </a:p>
          <a:p>
            <a:pPr marL="457200" lvl="0" indent="-317500">
              <a:lnSpc>
                <a:spcPct val="115000"/>
              </a:lnSpc>
              <a:buClr>
                <a:schemeClr val="lt1"/>
              </a:buClr>
              <a:buSzPts val="1400"/>
              <a:buFont typeface="Arial" panose="020B0604020202020204" pitchFamily="34" charset="0"/>
              <a:buChar char="•"/>
            </a:pPr>
            <a:r>
              <a:rPr lang="en-US" sz="1100">
                <a:solidFill>
                  <a:srgbClr val="FF0000"/>
                </a:solidFill>
                <a:latin typeface="Sofia Sans" panose="020B0604020202020204" charset="0"/>
              </a:rPr>
              <a:t>Evaluate Seasonal Changes: Consider how the position of the sun changes with seasons to avoid future shading issues, especially from deciduous trees that may lose leaves in winter but cast shadows in summer.</a:t>
            </a:r>
            <a:endParaRPr lang="de-DE" sz="1100">
              <a:solidFill>
                <a:srgbClr val="FF0000"/>
              </a:solidFill>
              <a:latin typeface="Sofia Sans" panose="020B0604020202020204" charset="0"/>
            </a:endParaRPr>
          </a:p>
          <a:p>
            <a:pPr marL="139700">
              <a:lnSpc>
                <a:spcPct val="115000"/>
              </a:lnSpc>
              <a:buClr>
                <a:schemeClr val="lt1"/>
              </a:buClr>
              <a:buSzPts val="1400"/>
            </a:pPr>
            <a:r>
              <a:rPr lang="en-US" sz="1100">
                <a:solidFill>
                  <a:srgbClr val="FF0000"/>
                </a:solidFill>
                <a:latin typeface="Sofia Sans" panose="020B0604020202020204" charset="0"/>
              </a:rPr>
              <a:t>Use of Solar Tracking Systems:</a:t>
            </a:r>
            <a:endParaRPr lang="de-DE" sz="1100">
              <a:solidFill>
                <a:srgbClr val="FF0000"/>
              </a:solidFill>
              <a:latin typeface="Sofia Sans" panose="020B0604020202020204" charset="0"/>
            </a:endParaRPr>
          </a:p>
          <a:p>
            <a:pPr marL="457200" lvl="0" indent="-317500">
              <a:lnSpc>
                <a:spcPct val="115000"/>
              </a:lnSpc>
              <a:buClr>
                <a:schemeClr val="lt1"/>
              </a:buClr>
              <a:buSzPts val="1400"/>
              <a:buFont typeface="Arial" panose="020B0604020202020204" pitchFamily="34" charset="0"/>
              <a:buChar char="•"/>
            </a:pPr>
            <a:r>
              <a:rPr lang="en-US" sz="1100">
                <a:solidFill>
                  <a:srgbClr val="FF0000"/>
                </a:solidFill>
                <a:latin typeface="Sofia Sans" panose="020B0604020202020204" charset="0"/>
              </a:rPr>
              <a:t>Single-Axis Trackers: These systems tilt the panels to follow the sun's movement from east to west, reducing the impact of shadows throughout the day.</a:t>
            </a:r>
            <a:endParaRPr lang="de-DE" sz="1100">
              <a:solidFill>
                <a:srgbClr val="FF0000"/>
              </a:solidFill>
              <a:latin typeface="Sofia Sans" panose="020B0604020202020204" charset="0"/>
            </a:endParaRPr>
          </a:p>
          <a:p>
            <a:pPr marL="457200" lvl="0" indent="-317500">
              <a:lnSpc>
                <a:spcPct val="115000"/>
              </a:lnSpc>
              <a:buClr>
                <a:schemeClr val="lt1"/>
              </a:buClr>
              <a:buSzPts val="1400"/>
              <a:buFont typeface="Arial" panose="020B0604020202020204" pitchFamily="34" charset="0"/>
              <a:buChar char="•"/>
            </a:pPr>
            <a:r>
              <a:rPr lang="en-US" sz="1100">
                <a:solidFill>
                  <a:srgbClr val="FF0000"/>
                </a:solidFill>
                <a:latin typeface="Sofia Sans" panose="020B0604020202020204" charset="0"/>
              </a:rPr>
              <a:t>Dual-Axis Trackers: These systems adjust both the tilt and orientation of the panels to follow the sun more precisely, further minimizing shading.</a:t>
            </a:r>
            <a:endParaRPr lang="de-DE" sz="1100">
              <a:solidFill>
                <a:srgbClr val="FF0000"/>
              </a:solidFill>
              <a:latin typeface="Sofia Sans" panose="020B0604020202020204" charset="0"/>
            </a:endParaRPr>
          </a:p>
          <a:p>
            <a:pPr marL="139700">
              <a:lnSpc>
                <a:spcPct val="115000"/>
              </a:lnSpc>
              <a:buClr>
                <a:schemeClr val="lt1"/>
              </a:buClr>
              <a:buSzPts val="1400"/>
            </a:pPr>
            <a:r>
              <a:rPr lang="en-US" sz="1100">
                <a:solidFill>
                  <a:srgbClr val="FF0000"/>
                </a:solidFill>
                <a:latin typeface="Sofia Sans" panose="020B0604020202020204" charset="0"/>
              </a:rPr>
              <a:t>Regular Maintenance and Trimming:</a:t>
            </a:r>
            <a:endParaRPr lang="de-DE" sz="1100">
              <a:solidFill>
                <a:srgbClr val="FF0000"/>
              </a:solidFill>
              <a:latin typeface="Sofia Sans" panose="020B0604020202020204" charset="0"/>
            </a:endParaRPr>
          </a:p>
          <a:p>
            <a:pPr marL="457200" lvl="0" indent="-317500">
              <a:lnSpc>
                <a:spcPct val="115000"/>
              </a:lnSpc>
              <a:buClr>
                <a:schemeClr val="lt1"/>
              </a:buClr>
              <a:buSzPts val="1400"/>
              <a:buFont typeface="Arial" panose="020B0604020202020204" pitchFamily="34" charset="0"/>
              <a:buChar char="•"/>
            </a:pPr>
            <a:r>
              <a:rPr lang="en-US" sz="1100">
                <a:solidFill>
                  <a:srgbClr val="FF0000"/>
                </a:solidFill>
                <a:latin typeface="Sofia Sans" panose="020B0604020202020204" charset="0"/>
              </a:rPr>
              <a:t>Tree Trimming: Regularly trim trees and vegetation near the PV installation to prevent shadows from encroaching on the panels.</a:t>
            </a:r>
            <a:endParaRPr lang="de-DE" sz="1100">
              <a:solidFill>
                <a:srgbClr val="FF0000"/>
              </a:solidFill>
              <a:latin typeface="Sofia Sans" panose="020B0604020202020204" charset="0"/>
            </a:endParaRPr>
          </a:p>
          <a:p>
            <a:pPr marL="457200" lvl="0" indent="-317500">
              <a:lnSpc>
                <a:spcPct val="115000"/>
              </a:lnSpc>
              <a:buClr>
                <a:schemeClr val="lt1"/>
              </a:buClr>
              <a:buSzPts val="1400"/>
              <a:buFont typeface="Arial" panose="020B0604020202020204" pitchFamily="34" charset="0"/>
              <a:buChar char="•"/>
            </a:pPr>
            <a:r>
              <a:rPr lang="en-US" sz="1100">
                <a:solidFill>
                  <a:srgbClr val="FF0000"/>
                </a:solidFill>
                <a:latin typeface="Sofia Sans" panose="020B0604020202020204" charset="0"/>
              </a:rPr>
              <a:t>Remove Debris: Ensure the panels are kept clean and free of debris that could cause partial shading.</a:t>
            </a:r>
            <a:endParaRPr lang="de-DE" sz="1100">
              <a:solidFill>
                <a:srgbClr val="FF0000"/>
              </a:solidFill>
              <a:latin typeface="Sofia Sans" panose="020B0604020202020204" charset="0"/>
            </a:endParaRPr>
          </a:p>
          <a:p>
            <a:pPr marL="457200">
              <a:spcBef>
                <a:spcPts val="1200"/>
              </a:spcBef>
              <a:spcAft>
                <a:spcPts val="1200"/>
              </a:spcAft>
            </a:pPr>
            <a:r>
              <a:rPr lang="en-US" sz="1100">
                <a:effectLst/>
                <a:latin typeface="Times New Roman" panose="02020603050405020304" pitchFamily="18" charset="0"/>
                <a:ea typeface="Times New Roman" panose="02020603050405020304" pitchFamily="18" charset="0"/>
              </a:rPr>
              <a:t> </a:t>
            </a:r>
            <a:endParaRPr lang="de-DE" sz="1100">
              <a:effectLst/>
              <a:latin typeface="Times New Roman" panose="02020603050405020304" pitchFamily="18" charset="0"/>
              <a:ea typeface="Times New Roman" panose="02020603050405020304" pitchFamily="18" charset="0"/>
            </a:endParaRPr>
          </a:p>
        </p:txBody>
      </p:sp>
      <p:sp>
        <p:nvSpPr>
          <p:cNvPr id="3" name="Foliennummernplatzhalter 2">
            <a:extLst>
              <a:ext uri="{FF2B5EF4-FFF2-40B4-BE49-F238E27FC236}">
                <a16:creationId xmlns:a16="http://schemas.microsoft.com/office/drawing/2014/main" id="{27653A72-4830-DFD9-3283-4135717315F1}"/>
              </a:ext>
            </a:extLst>
          </p:cNvPr>
          <p:cNvSpPr>
            <a:spLocks noGrp="1"/>
          </p:cNvSpPr>
          <p:nvPr>
            <p:ph type="sldNum" sz="quarter" idx="4"/>
          </p:nvPr>
        </p:nvSpPr>
        <p:spPr/>
        <p:txBody>
          <a:bodyPr/>
          <a:lstStyle/>
          <a:p>
            <a:fld id="{DF7F771E-9578-4C04-B869-01AF4C35C90C}" type="slidenum">
              <a:rPr lang="de-DE" smtClean="0"/>
              <a:t>37</a:t>
            </a:fld>
            <a:endParaRPr lang="de-DE"/>
          </a:p>
        </p:txBody>
      </p:sp>
      <p:sp>
        <p:nvSpPr>
          <p:cNvPr id="4" name="Rechteck 3">
            <a:extLst>
              <a:ext uri="{FF2B5EF4-FFF2-40B4-BE49-F238E27FC236}">
                <a16:creationId xmlns:a16="http://schemas.microsoft.com/office/drawing/2014/main" id="{874B4794-0094-1723-03C7-EF9E4C5BB5EB}"/>
              </a:ext>
            </a:extLst>
          </p:cNvPr>
          <p:cNvSpPr/>
          <p:nvPr/>
        </p:nvSpPr>
        <p:spPr>
          <a:xfrm>
            <a:off x="719138" y="6984415"/>
            <a:ext cx="5740172" cy="3134485"/>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Ellipse 4">
            <a:extLst>
              <a:ext uri="{FF2B5EF4-FFF2-40B4-BE49-F238E27FC236}">
                <a16:creationId xmlns:a16="http://schemas.microsoft.com/office/drawing/2014/main" id="{1708181F-A9EC-C739-750E-6D8311F2DDE6}"/>
              </a:ext>
            </a:extLst>
          </p:cNvPr>
          <p:cNvSpPr>
            <a:spLocks noChangeAspect="1"/>
          </p:cNvSpPr>
          <p:nvPr/>
        </p:nvSpPr>
        <p:spPr>
          <a:xfrm>
            <a:off x="6128978" y="6740494"/>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Lesezeichen mit einfarbiger Füllung">
            <a:extLst>
              <a:ext uri="{FF2B5EF4-FFF2-40B4-BE49-F238E27FC236}">
                <a16:creationId xmlns:a16="http://schemas.microsoft.com/office/drawing/2014/main" id="{FA754C79-29BC-38CC-404A-4DE11E8FAE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6868341"/>
            <a:ext cx="404450" cy="404450"/>
          </a:xfrm>
          <a:prstGeom prst="rect">
            <a:avLst/>
          </a:prstGeom>
        </p:spPr>
      </p:pic>
      <p:sp>
        <p:nvSpPr>
          <p:cNvPr id="7" name="Untertitel 5">
            <a:extLst>
              <a:ext uri="{FF2B5EF4-FFF2-40B4-BE49-F238E27FC236}">
                <a16:creationId xmlns:a16="http://schemas.microsoft.com/office/drawing/2014/main" id="{56286E36-E555-EC2C-D571-02639F2E2A80}"/>
              </a:ext>
            </a:extLst>
          </p:cNvPr>
          <p:cNvSpPr txBox="1">
            <a:spLocks/>
          </p:cNvSpPr>
          <p:nvPr/>
        </p:nvSpPr>
        <p:spPr>
          <a:xfrm>
            <a:off x="894164" y="7158829"/>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8" name="Untertitel 2">
            <a:extLst>
              <a:ext uri="{FF2B5EF4-FFF2-40B4-BE49-F238E27FC236}">
                <a16:creationId xmlns:a16="http://schemas.microsoft.com/office/drawing/2014/main" id="{48D1F506-428A-4C41-E168-FED62B196056}"/>
              </a:ext>
            </a:extLst>
          </p:cNvPr>
          <p:cNvSpPr txBox="1">
            <a:spLocks/>
          </p:cNvSpPr>
          <p:nvPr/>
        </p:nvSpPr>
        <p:spPr>
          <a:xfrm>
            <a:off x="1103983" y="7652257"/>
            <a:ext cx="5152842" cy="262580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Shadows from various objects, including clouds, trees, or structures, significantly impact PV panels by blocking sunlight and thereby reducing the voltage and current output. This reduction directly affects the overall energy production efficiency of the panel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PV panels are highly sensitive to shading, where even small shadows can disproportionately decrease power production due to interconnected panel circuit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Ensuring that PV panels receive unobstructed sunlight is crucial for maximizing their energy output. Effective placement and orientation are key strategies to minimize the effects of shadows, enhancing the consistent performance of solar power systems.</a:t>
            </a:r>
          </a:p>
        </p:txBody>
      </p:sp>
      <p:sp>
        <p:nvSpPr>
          <p:cNvPr id="2" name="Untertitel 3">
            <a:extLst>
              <a:ext uri="{FF2B5EF4-FFF2-40B4-BE49-F238E27FC236}">
                <a16:creationId xmlns:a16="http://schemas.microsoft.com/office/drawing/2014/main" id="{D4D5F0A2-3DE1-E0EB-72FC-4E875635C488}"/>
              </a:ext>
            </a:extLst>
          </p:cNvPr>
          <p:cNvSpPr txBox="1">
            <a:spLocks/>
          </p:cNvSpPr>
          <p:nvPr/>
        </p:nvSpPr>
        <p:spPr>
          <a:xfrm>
            <a:off x="719138" y="1721687"/>
            <a:ext cx="5933121"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What can be some strategies to avoid shadows like this?</a:t>
            </a:r>
          </a:p>
        </p:txBody>
      </p:sp>
      <p:sp>
        <p:nvSpPr>
          <p:cNvPr id="10" name="Untertitel 5">
            <a:extLst>
              <a:ext uri="{FF2B5EF4-FFF2-40B4-BE49-F238E27FC236}">
                <a16:creationId xmlns:a16="http://schemas.microsoft.com/office/drawing/2014/main" id="{AE499AE4-271A-98C5-4BBC-FAF5C483D86A}"/>
              </a:ext>
            </a:extLst>
          </p:cNvPr>
          <p:cNvSpPr txBox="1">
            <a:spLocks/>
          </p:cNvSpPr>
          <p:nvPr/>
        </p:nvSpPr>
        <p:spPr>
          <a:xfrm>
            <a:off x="719138" y="130457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2</a:t>
            </a:r>
          </a:p>
        </p:txBody>
      </p:sp>
    </p:spTree>
    <p:extLst>
      <p:ext uri="{BB962C8B-B14F-4D97-AF65-F5344CB8AC3E}">
        <p14:creationId xmlns:p14="http://schemas.microsoft.com/office/powerpoint/2010/main" val="7678177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1CA8DD-7221-E584-326A-CB927924201E}"/>
              </a:ext>
            </a:extLst>
          </p:cNvPr>
          <p:cNvGraphicFramePr>
            <a:graphicFrameLocks noChangeAspect="1"/>
          </p:cNvGraphicFramePr>
          <p:nvPr>
            <p:custDataLst>
              <p:tags r:id="rId1"/>
            </p:custDataLst>
            <p:extLst>
              <p:ext uri="{D42A27DB-BD31-4B8C-83A1-F6EECF244321}">
                <p14:modId xmlns:p14="http://schemas.microsoft.com/office/powerpoint/2010/main" val="3165084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6" progId="TCLayout.ActiveDocument.1">
                  <p:embed/>
                </p:oleObj>
              </mc:Choice>
              <mc:Fallback>
                <p:oleObj name="think-cell Folie" r:id="rId5" imgW="425" imgH="426" progId="TCLayout.ActiveDocument.1">
                  <p:embed/>
                  <p:pic>
                    <p:nvPicPr>
                      <p:cNvPr id="3" name="think-cell data - do not delete" hidden="1">
                        <a:extLst>
                          <a:ext uri="{FF2B5EF4-FFF2-40B4-BE49-F238E27FC236}">
                            <a16:creationId xmlns:a16="http://schemas.microsoft.com/office/drawing/2014/main" id="{4A1CA8DD-7221-E584-326A-CB92792420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05" name="Google Shape;305;p24"/>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4" name="Rechteck 3">
            <a:extLst>
              <a:ext uri="{FF2B5EF4-FFF2-40B4-BE49-F238E27FC236}">
                <a16:creationId xmlns:a16="http://schemas.microsoft.com/office/drawing/2014/main" id="{FE70CA0E-25A9-C2AD-AE39-2001A076167F}"/>
              </a:ext>
            </a:extLst>
          </p:cNvPr>
          <p:cNvSpPr/>
          <p:nvPr/>
        </p:nvSpPr>
        <p:spPr>
          <a:xfrm>
            <a:off x="630317" y="4706337"/>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descr="Ein Bild, das Text, Grafiken, Logo, Screenshot enthält.&#10;&#10;Automatisch generierte Beschreibung">
            <a:extLst>
              <a:ext uri="{FF2B5EF4-FFF2-40B4-BE49-F238E27FC236}">
                <a16:creationId xmlns:a16="http://schemas.microsoft.com/office/drawing/2014/main" id="{623C9272-E5F8-EECD-5A93-C8E532BFE0E2}"/>
              </a:ext>
            </a:extLst>
          </p:cNvPr>
          <p:cNvPicPr>
            <a:picLocks noChangeAspect="1"/>
          </p:cNvPicPr>
          <p:nvPr/>
        </p:nvPicPr>
        <p:blipFill rotWithShape="1">
          <a:blip r:embed="rId7"/>
          <a:srcRect l="4330" t="5503" r="74884" b="75526"/>
          <a:stretch/>
        </p:blipFill>
        <p:spPr>
          <a:xfrm>
            <a:off x="736073" y="4714047"/>
            <a:ext cx="1696255" cy="1696255"/>
          </a:xfrm>
          <a:prstGeom prst="ellipse">
            <a:avLst/>
          </a:prstGeom>
        </p:spPr>
      </p:pic>
      <p:sp>
        <p:nvSpPr>
          <p:cNvPr id="304" name="Google Shape;304;p24"/>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sz="1488"/>
          </a:p>
        </p:txBody>
      </p:sp>
      <p:sp>
        <p:nvSpPr>
          <p:cNvPr id="326" name="Google Shape;326;p24"/>
          <p:cNvSpPr txBox="1">
            <a:spLocks noGrp="1"/>
          </p:cNvSpPr>
          <p:nvPr>
            <p:ph type="ctrTitle"/>
          </p:nvPr>
        </p:nvSpPr>
        <p:spPr>
          <a:xfrm>
            <a:off x="2753754" y="4027559"/>
            <a:ext cx="4216106" cy="1870573"/>
          </a:xfrm>
          <a:prstGeom prst="rect">
            <a:avLst/>
          </a:prstGeom>
        </p:spPr>
        <p:txBody>
          <a:bodyPr spcFirstLastPara="1" wrap="square" lIns="75584" tIns="75584" rIns="75584" bIns="75584" anchor="b" anchorCtr="0">
            <a:noAutofit/>
          </a:bodyPr>
          <a:lstStyle/>
          <a:p>
            <a:r>
              <a:rPr lang="en"/>
              <a:t>PV Education HUB</a:t>
            </a:r>
            <a:endParaRPr lang="it-IT"/>
          </a:p>
          <a:p>
            <a:r>
              <a:rPr lang="en" b="0"/>
              <a:t>Chapter 2</a:t>
            </a:r>
            <a:endParaRPr b="0"/>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Google Shape;327;p24">
            <a:extLst>
              <a:ext uri="{FF2B5EF4-FFF2-40B4-BE49-F238E27FC236}">
                <a16:creationId xmlns:a16="http://schemas.microsoft.com/office/drawing/2014/main" id="{AF8A9881-9AFE-21B0-C166-37DE4B084308}"/>
              </a:ext>
            </a:extLst>
          </p:cNvPr>
          <p:cNvSpPr txBox="1">
            <a:spLocks noGrp="1"/>
          </p:cNvSpPr>
          <p:nvPr>
            <p:ph type="subTitle" idx="1"/>
          </p:nvPr>
        </p:nvSpPr>
        <p:spPr>
          <a:xfrm>
            <a:off x="2753754" y="5858139"/>
            <a:ext cx="4216106" cy="878220"/>
          </a:xfrm>
          <a:prstGeom prst="rect">
            <a:avLst/>
          </a:prstGeom>
          <a:solidFill>
            <a:srgbClr val="F0E3D8"/>
          </a:solidFill>
          <a:ln>
            <a:noFill/>
          </a:ln>
        </p:spPr>
        <p:txBody>
          <a:bodyPr spcFirstLastPara="1" wrap="square" lIns="75584" tIns="75584" rIns="75584" bIns="75584" anchor="ctr" anchorCtr="0">
            <a:noAutofit/>
          </a:bodyPr>
          <a:lstStyle/>
          <a:p>
            <a:pPr marL="0" indent="0"/>
            <a:r>
              <a:rPr lang="en" sz="2800" b="1"/>
              <a:t>Connecting PV to a load and MPP</a:t>
            </a:r>
          </a:p>
        </p:txBody>
      </p:sp>
    </p:spTree>
    <p:extLst>
      <p:ext uri="{BB962C8B-B14F-4D97-AF65-F5344CB8AC3E}">
        <p14:creationId xmlns:p14="http://schemas.microsoft.com/office/powerpoint/2010/main" val="1558425071"/>
      </p:ext>
    </p:extLst>
  </p:cSld>
  <p:clrMapOvr>
    <a:masterClrMapping/>
  </p:clrMapOvr>
  <p:extLst>
    <p:ext uri="{6950BFC3-D8DA-4A85-94F7-54DA5524770B}">
      <p188:commentRel xmlns:p188="http://schemas.microsoft.com/office/powerpoint/2018/8/main" r:id="rId4"/>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26900DB9-ED99-E2E2-04B6-E1B0CDCDAA93}"/>
              </a:ext>
            </a:extLst>
          </p:cNvPr>
          <p:cNvSpPr>
            <a:spLocks noGrp="1"/>
          </p:cNvSpPr>
          <p:nvPr>
            <p:ph type="sldNum" sz="quarter" idx="10"/>
          </p:nvPr>
        </p:nvSpPr>
        <p:spPr/>
        <p:txBody>
          <a:bodyPr/>
          <a:lstStyle/>
          <a:p>
            <a:fld id="{DF7F771E-9578-4C04-B869-01AF4C35C90C}" type="slidenum">
              <a:rPr lang="de-DE" smtClean="0"/>
              <a:t>39</a:t>
            </a:fld>
            <a:endParaRPr lang="de-DE"/>
          </a:p>
        </p:txBody>
      </p:sp>
      <p:sp>
        <p:nvSpPr>
          <p:cNvPr id="8" name="Titel 1">
            <a:extLst>
              <a:ext uri="{FF2B5EF4-FFF2-40B4-BE49-F238E27FC236}">
                <a16:creationId xmlns:a16="http://schemas.microsoft.com/office/drawing/2014/main" id="{EAE65E17-24BD-9146-7605-4AD45B45C364}"/>
              </a:ext>
            </a:extLst>
          </p:cNvPr>
          <p:cNvSpPr>
            <a:spLocks noGrp="1"/>
          </p:cNvSpPr>
          <p:nvPr>
            <p:ph type="title"/>
          </p:nvPr>
        </p:nvSpPr>
        <p:spPr>
          <a:xfrm>
            <a:off x="595250" y="1121461"/>
            <a:ext cx="6369175" cy="519708"/>
          </a:xfrm>
        </p:spPr>
        <p:txBody>
          <a:bodyPr/>
          <a:lstStyle/>
          <a:p>
            <a:r>
              <a:rPr lang="en-US"/>
              <a:t>Connecting to a load and MPP</a:t>
            </a:r>
          </a:p>
        </p:txBody>
      </p:sp>
      <p:sp>
        <p:nvSpPr>
          <p:cNvPr id="4" name="Rechteck 3">
            <a:extLst>
              <a:ext uri="{FF2B5EF4-FFF2-40B4-BE49-F238E27FC236}">
                <a16:creationId xmlns:a16="http://schemas.microsoft.com/office/drawing/2014/main" id="{D6A514ED-E500-85AF-6983-5BA46210B3F1}"/>
              </a:ext>
            </a:extLst>
          </p:cNvPr>
          <p:cNvSpPr/>
          <p:nvPr/>
        </p:nvSpPr>
        <p:spPr>
          <a:xfrm>
            <a:off x="719137" y="6946758"/>
            <a:ext cx="5740172" cy="2249088"/>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Untertitel 2">
            <a:extLst>
              <a:ext uri="{FF2B5EF4-FFF2-40B4-BE49-F238E27FC236}">
                <a16:creationId xmlns:a16="http://schemas.microsoft.com/office/drawing/2014/main" id="{1EF18BE2-7A04-FC59-433C-37D0557F4D9A}"/>
              </a:ext>
            </a:extLst>
          </p:cNvPr>
          <p:cNvSpPr txBox="1">
            <a:spLocks/>
          </p:cNvSpPr>
          <p:nvPr/>
        </p:nvSpPr>
        <p:spPr>
          <a:xfrm>
            <a:off x="1099381" y="7650845"/>
            <a:ext cx="4979684" cy="122736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a:t>One lamp (Yellow light bulb)</a:t>
            </a:r>
          </a:p>
          <a:p>
            <a:pPr>
              <a:buClrTx/>
              <a:buFont typeface="Arial" panose="020B0604020202020204" pitchFamily="34" charset="0"/>
              <a:buChar char="•"/>
            </a:pPr>
            <a:r>
              <a:rPr lang="en-US"/>
              <a:t>PV </a:t>
            </a:r>
            <a:r>
              <a:rPr lang="en-US" sz="1150"/>
              <a:t>modules (Small &amp; Big)</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Various cables</a:t>
            </a:r>
          </a:p>
          <a:p>
            <a:pPr>
              <a:buClrTx/>
              <a:buFont typeface="Arial" panose="020B0604020202020204" pitchFamily="34" charset="0"/>
              <a:buChar char="•"/>
            </a:pPr>
            <a:r>
              <a:rPr lang="en-US" sz="1150"/>
              <a:t>Holder for PV panels</a:t>
            </a:r>
          </a:p>
          <a:p>
            <a:pPr>
              <a:buClrTx/>
              <a:buFont typeface="Arial" panose="020B0604020202020204" pitchFamily="34" charset="0"/>
              <a:buChar char="•"/>
            </a:pPr>
            <a:r>
              <a:rPr lang="en-US" sz="1150"/>
              <a:t>Resistance (Potentiometer)</a:t>
            </a:r>
          </a:p>
          <a:p>
            <a:pPr>
              <a:buClrTx/>
              <a:buFont typeface="Arial" panose="020B0604020202020204" pitchFamily="34" charset="0"/>
              <a:buChar char="•"/>
            </a:pPr>
            <a:endParaRPr lang="en-US" sz="1150"/>
          </a:p>
        </p:txBody>
      </p:sp>
      <p:sp>
        <p:nvSpPr>
          <p:cNvPr id="6" name="Untertitel 5">
            <a:extLst>
              <a:ext uri="{FF2B5EF4-FFF2-40B4-BE49-F238E27FC236}">
                <a16:creationId xmlns:a16="http://schemas.microsoft.com/office/drawing/2014/main" id="{79E1760F-B89C-5863-A242-35A84CFDCFB7}"/>
              </a:ext>
            </a:extLst>
          </p:cNvPr>
          <p:cNvSpPr txBox="1">
            <a:spLocks/>
          </p:cNvSpPr>
          <p:nvPr/>
        </p:nvSpPr>
        <p:spPr>
          <a:xfrm>
            <a:off x="881288" y="7089481"/>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sp>
        <p:nvSpPr>
          <p:cNvPr id="16" name="Ellipse 15">
            <a:extLst>
              <a:ext uri="{FF2B5EF4-FFF2-40B4-BE49-F238E27FC236}">
                <a16:creationId xmlns:a16="http://schemas.microsoft.com/office/drawing/2014/main" id="{A7DDDE85-3A12-8334-875A-B6C164EE37C5}"/>
              </a:ext>
            </a:extLst>
          </p:cNvPr>
          <p:cNvSpPr>
            <a:spLocks noChangeAspect="1"/>
          </p:cNvSpPr>
          <p:nvPr/>
        </p:nvSpPr>
        <p:spPr>
          <a:xfrm>
            <a:off x="6128977" y="6605886"/>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Inventar mit einfarbiger Füllung">
            <a:extLst>
              <a:ext uri="{FF2B5EF4-FFF2-40B4-BE49-F238E27FC236}">
                <a16:creationId xmlns:a16="http://schemas.microsoft.com/office/drawing/2014/main" id="{3BDC7BEC-CB9E-003B-BE38-9E425099B3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30449" y="6707358"/>
            <a:ext cx="457200" cy="457200"/>
          </a:xfrm>
          <a:prstGeom prst="rect">
            <a:avLst/>
          </a:prstGeom>
        </p:spPr>
      </p:pic>
      <p:sp>
        <p:nvSpPr>
          <p:cNvPr id="13" name="Untertitel 3">
            <a:extLst>
              <a:ext uri="{FF2B5EF4-FFF2-40B4-BE49-F238E27FC236}">
                <a16:creationId xmlns:a16="http://schemas.microsoft.com/office/drawing/2014/main" id="{37B1975D-5314-EF92-0D9E-E2A606B471A6}"/>
              </a:ext>
            </a:extLst>
          </p:cNvPr>
          <p:cNvSpPr txBox="1">
            <a:spLocks/>
          </p:cNvSpPr>
          <p:nvPr/>
        </p:nvSpPr>
        <p:spPr>
          <a:xfrm>
            <a:off x="719137" y="2326497"/>
            <a:ext cx="5470221" cy="147818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de-DE"/>
              <a:t>In </a:t>
            </a:r>
            <a:r>
              <a:rPr lang="de-DE" err="1"/>
              <a:t>this</a:t>
            </a:r>
            <a:r>
              <a:rPr lang="de-DE"/>
              <a:t> </a:t>
            </a:r>
            <a:r>
              <a:rPr lang="de-DE" err="1"/>
              <a:t>chapter</a:t>
            </a:r>
            <a:r>
              <a:rPr lang="de-DE"/>
              <a:t>, </a:t>
            </a:r>
            <a:r>
              <a:rPr lang="de-DE" err="1"/>
              <a:t>you</a:t>
            </a:r>
            <a:r>
              <a:rPr lang="de-DE"/>
              <a:t> will </a:t>
            </a:r>
            <a:r>
              <a:rPr lang="de-DE" err="1"/>
              <a:t>learn</a:t>
            </a:r>
            <a:r>
              <a:rPr lang="de-DE"/>
              <a:t> </a:t>
            </a:r>
            <a:r>
              <a:rPr lang="de-DE" err="1"/>
              <a:t>about</a:t>
            </a:r>
            <a:r>
              <a:rPr lang="de-DE"/>
              <a:t>:</a:t>
            </a:r>
          </a:p>
          <a:p>
            <a:pPr>
              <a:buFont typeface="Arial" panose="020B0604020202020204" pitchFamily="34" charset="0"/>
              <a:buChar char="•"/>
            </a:pPr>
            <a:r>
              <a:rPr lang="en-US"/>
              <a:t>PV panels in Series</a:t>
            </a:r>
          </a:p>
          <a:p>
            <a:pPr>
              <a:buFont typeface="Arial" panose="020B0604020202020204" pitchFamily="34" charset="0"/>
              <a:buChar char="•"/>
            </a:pPr>
            <a:r>
              <a:rPr lang="en-US"/>
              <a:t>PV panels in Parallel</a:t>
            </a:r>
          </a:p>
          <a:p>
            <a:pPr>
              <a:buFont typeface="Arial" panose="020B0604020202020204" pitchFamily="34" charset="0"/>
              <a:buChar char="•"/>
            </a:pPr>
            <a:r>
              <a:rPr lang="en-US"/>
              <a:t>Fixed load (Resistor)</a:t>
            </a:r>
          </a:p>
          <a:p>
            <a:pPr>
              <a:buFont typeface="Arial" panose="020B0604020202020204" pitchFamily="34" charset="0"/>
              <a:buChar char="•"/>
            </a:pPr>
            <a:r>
              <a:rPr lang="en-US"/>
              <a:t>Changing load</a:t>
            </a:r>
          </a:p>
          <a:p>
            <a:pPr>
              <a:buFont typeface="Arial" panose="020B0604020202020204" pitchFamily="34" charset="0"/>
              <a:buChar char="•"/>
            </a:pPr>
            <a:r>
              <a:rPr lang="en-US"/>
              <a:t>Local conditions and load changes </a:t>
            </a:r>
            <a:endParaRPr lang="de-DE"/>
          </a:p>
        </p:txBody>
      </p:sp>
      <p:sp>
        <p:nvSpPr>
          <p:cNvPr id="14" name="Untertitel 3">
            <a:extLst>
              <a:ext uri="{FF2B5EF4-FFF2-40B4-BE49-F238E27FC236}">
                <a16:creationId xmlns:a16="http://schemas.microsoft.com/office/drawing/2014/main" id="{70D8283B-838F-7304-E20E-E3F94B3F6925}"/>
              </a:ext>
            </a:extLst>
          </p:cNvPr>
          <p:cNvSpPr txBox="1">
            <a:spLocks/>
          </p:cNvSpPr>
          <p:nvPr/>
        </p:nvSpPr>
        <p:spPr>
          <a:xfrm>
            <a:off x="719137" y="4324187"/>
            <a:ext cx="5944510" cy="290583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At the end of this chapter, you will:</a:t>
            </a:r>
          </a:p>
          <a:p>
            <a:pPr>
              <a:buFont typeface="+mj-lt"/>
              <a:buAutoNum type="arabicPeriod"/>
            </a:pPr>
            <a:r>
              <a:rPr lang="en-US"/>
              <a:t>Understand how connecting PV panels in series or parallel influences voltage and current</a:t>
            </a:r>
          </a:p>
          <a:p>
            <a:pPr>
              <a:buFont typeface="+mj-lt"/>
              <a:buAutoNum type="arabicPeriod"/>
            </a:pPr>
            <a:r>
              <a:rPr lang="en-US"/>
              <a:t>Be able to evaluate how different configurations affect overall system voltage, current, and power output. </a:t>
            </a:r>
          </a:p>
          <a:p>
            <a:pPr>
              <a:buFont typeface="+mj-lt"/>
              <a:buAutoNum type="arabicPeriod"/>
            </a:pPr>
            <a:r>
              <a:rPr lang="en-US"/>
              <a:t>Manage the impact of both fixed and variable loads on PV system performance. </a:t>
            </a:r>
          </a:p>
          <a:p>
            <a:pPr>
              <a:buFont typeface="+mj-lt"/>
              <a:buAutoNum type="arabicPeriod"/>
            </a:pPr>
            <a:r>
              <a:rPr lang="en-US"/>
              <a:t>Apply Maximum Power Point (MPP) tracking to optimize the energy output from PV panels. </a:t>
            </a:r>
          </a:p>
          <a:p>
            <a:pPr>
              <a:buFont typeface="+mj-lt"/>
              <a:buAutoNum type="arabicPeriod"/>
            </a:pPr>
            <a:r>
              <a:rPr lang="en-US"/>
              <a:t>Adapt to local environmental conditions to maximize the efficiency of your PV system.</a:t>
            </a:r>
          </a:p>
        </p:txBody>
      </p:sp>
      <p:sp>
        <p:nvSpPr>
          <p:cNvPr id="15" name="Untertitel 5">
            <a:extLst>
              <a:ext uri="{FF2B5EF4-FFF2-40B4-BE49-F238E27FC236}">
                <a16:creationId xmlns:a16="http://schemas.microsoft.com/office/drawing/2014/main" id="{D11F5D38-E76B-2625-D4C9-29A036A7C2F9}"/>
              </a:ext>
            </a:extLst>
          </p:cNvPr>
          <p:cNvSpPr txBox="1">
            <a:spLocks/>
          </p:cNvSpPr>
          <p:nvPr/>
        </p:nvSpPr>
        <p:spPr>
          <a:xfrm>
            <a:off x="713442" y="393454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Learning </a:t>
            </a:r>
            <a:r>
              <a:rPr lang="de-DE" sz="1200" err="1">
                <a:solidFill>
                  <a:schemeClr val="accent5"/>
                </a:solidFill>
              </a:rPr>
              <a:t>Objective</a:t>
            </a:r>
            <a:endParaRPr lang="de-DE" sz="1200">
              <a:solidFill>
                <a:schemeClr val="accent5"/>
              </a:solidFill>
            </a:endParaRPr>
          </a:p>
        </p:txBody>
      </p:sp>
    </p:spTree>
    <p:extLst>
      <p:ext uri="{BB962C8B-B14F-4D97-AF65-F5344CB8AC3E}">
        <p14:creationId xmlns:p14="http://schemas.microsoft.com/office/powerpoint/2010/main" val="1126850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40"/>
        <p:cNvGrpSpPr/>
        <p:nvPr/>
      </p:nvGrpSpPr>
      <p:grpSpPr>
        <a:xfrm>
          <a:off x="0" y="0"/>
          <a:ext cx="0" cy="0"/>
          <a:chOff x="0" y="0"/>
          <a:chExt cx="0" cy="0"/>
        </a:xfrm>
      </p:grpSpPr>
      <p:sp>
        <p:nvSpPr>
          <p:cNvPr id="345" name="Google Shape;345;p26"/>
          <p:cNvSpPr txBox="1">
            <a:spLocks noGrp="1"/>
          </p:cNvSpPr>
          <p:nvPr>
            <p:ph type="title"/>
          </p:nvPr>
        </p:nvSpPr>
        <p:spPr>
          <a:xfrm>
            <a:off x="595249" y="1150021"/>
            <a:ext cx="6369175" cy="473472"/>
          </a:xfrm>
          <a:prstGeom prst="rect">
            <a:avLst/>
          </a:prstGeom>
        </p:spPr>
        <p:txBody>
          <a:bodyPr spcFirstLastPara="1" wrap="square" lIns="75584" tIns="75584" rIns="75584" bIns="75584" anchor="t" anchorCtr="0">
            <a:noAutofit/>
          </a:bodyPr>
          <a:lstStyle/>
          <a:p>
            <a:r>
              <a:rPr lang="en"/>
              <a:t>Table of contents</a:t>
            </a:r>
            <a:endParaRPr/>
          </a:p>
        </p:txBody>
      </p:sp>
      <p:sp>
        <p:nvSpPr>
          <p:cNvPr id="45" name="Google Shape;343;p26">
            <a:extLst>
              <a:ext uri="{FF2B5EF4-FFF2-40B4-BE49-F238E27FC236}">
                <a16:creationId xmlns:a16="http://schemas.microsoft.com/office/drawing/2014/main" id="{FDA57636-E66E-F394-3E03-5D03159A3A34}"/>
              </a:ext>
            </a:extLst>
          </p:cNvPr>
          <p:cNvSpPr txBox="1">
            <a:spLocks/>
          </p:cNvSpPr>
          <p:nvPr/>
        </p:nvSpPr>
        <p:spPr>
          <a:xfrm>
            <a:off x="719138" y="4653609"/>
            <a:ext cx="5584681" cy="2269424"/>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dirty="0"/>
              <a:t>Chapter 1 – PV Basics</a:t>
            </a:r>
          </a:p>
          <a:p>
            <a:pPr marL="342900" indent="-342900">
              <a:buSzPct val="115000"/>
              <a:buFont typeface="+mj-lt"/>
              <a:buAutoNum type="arabicPeriod"/>
            </a:pPr>
            <a:r>
              <a:rPr lang="en-US" b="0" dirty="0"/>
              <a:t>Light </a:t>
            </a:r>
            <a:r>
              <a:rPr lang="en-US" b="0" dirty="0" err="1"/>
              <a:t>colour</a:t>
            </a:r>
            <a:endParaRPr lang="en-US" b="0" dirty="0"/>
          </a:p>
          <a:p>
            <a:pPr marL="342900" indent="-342900">
              <a:buSzPct val="115000"/>
              <a:buFont typeface="+mj-lt"/>
              <a:buAutoNum type="arabicPeriod"/>
            </a:pPr>
            <a:r>
              <a:rPr lang="en-US" b="0" dirty="0"/>
              <a:t>Angle of incidence</a:t>
            </a:r>
          </a:p>
          <a:p>
            <a:pPr marL="342900" indent="-342900">
              <a:buSzPct val="115000"/>
              <a:buFont typeface="+mj-lt"/>
              <a:buAutoNum type="arabicPeriod"/>
            </a:pPr>
            <a:r>
              <a:rPr lang="en-US" b="0" dirty="0"/>
              <a:t>Light intensity</a:t>
            </a:r>
          </a:p>
          <a:p>
            <a:pPr marL="342900" indent="-342900">
              <a:buSzPct val="115000"/>
              <a:buFont typeface="+mj-lt"/>
              <a:buAutoNum type="arabicPeriod"/>
            </a:pPr>
            <a:r>
              <a:rPr lang="en-US" b="0" dirty="0"/>
              <a:t>Impact of heat on PV module performance</a:t>
            </a:r>
          </a:p>
          <a:p>
            <a:pPr marL="342900" indent="-342900">
              <a:buSzPct val="115000"/>
              <a:buFont typeface="+mj-lt"/>
              <a:buAutoNum type="arabicPeriod"/>
            </a:pPr>
            <a:r>
              <a:rPr lang="en-US" b="0" dirty="0"/>
              <a:t>Impact of pollution on PV module performance</a:t>
            </a:r>
          </a:p>
          <a:p>
            <a:pPr marL="342900" indent="-342900">
              <a:buSzPct val="115000"/>
              <a:buFont typeface="+mj-lt"/>
              <a:buAutoNum type="arabicPeriod"/>
            </a:pPr>
            <a:r>
              <a:rPr lang="en-US" b="0" dirty="0"/>
              <a:t>Impact of shadows on PV module performance</a:t>
            </a:r>
            <a:endParaRPr lang="de-DE" dirty="0"/>
          </a:p>
          <a:p>
            <a:pPr marL="0" indent="0"/>
            <a:endParaRPr lang="de-DE" dirty="0"/>
          </a:p>
        </p:txBody>
      </p:sp>
      <p:sp>
        <p:nvSpPr>
          <p:cNvPr id="46" name="Google Shape;343;p26">
            <a:extLst>
              <a:ext uri="{FF2B5EF4-FFF2-40B4-BE49-F238E27FC236}">
                <a16:creationId xmlns:a16="http://schemas.microsoft.com/office/drawing/2014/main" id="{F6B188DC-BF5C-308F-1AE9-E8223B2A5A1D}"/>
              </a:ext>
            </a:extLst>
          </p:cNvPr>
          <p:cNvSpPr txBox="1">
            <a:spLocks/>
          </p:cNvSpPr>
          <p:nvPr/>
        </p:nvSpPr>
        <p:spPr>
          <a:xfrm>
            <a:off x="6553202" y="4653608"/>
            <a:ext cx="476045" cy="2047752"/>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13</a:t>
            </a:r>
          </a:p>
          <a:p>
            <a:pPr marL="0" indent="0"/>
            <a:r>
              <a:rPr lang="de-DE" b="0"/>
              <a:t>16</a:t>
            </a:r>
          </a:p>
          <a:p>
            <a:pPr marL="0" indent="0"/>
            <a:r>
              <a:rPr lang="de-DE" b="0"/>
              <a:t>19</a:t>
            </a:r>
          </a:p>
          <a:p>
            <a:pPr marL="0" indent="0"/>
            <a:r>
              <a:rPr lang="de-DE" b="0"/>
              <a:t>23</a:t>
            </a:r>
          </a:p>
          <a:p>
            <a:pPr marL="0" indent="0"/>
            <a:r>
              <a:rPr lang="de-DE" b="0"/>
              <a:t>26</a:t>
            </a:r>
          </a:p>
          <a:p>
            <a:pPr marL="0" indent="0"/>
            <a:r>
              <a:rPr lang="de-DE" b="0"/>
              <a:t>31</a:t>
            </a:r>
          </a:p>
          <a:p>
            <a:pPr marL="0" indent="0"/>
            <a:r>
              <a:rPr lang="de-DE" b="0"/>
              <a:t>34</a:t>
            </a:r>
          </a:p>
          <a:p>
            <a:pPr marL="0" indent="0"/>
            <a:endParaRPr lang="de-DE" b="0"/>
          </a:p>
        </p:txBody>
      </p:sp>
      <p:sp>
        <p:nvSpPr>
          <p:cNvPr id="47" name="Google Shape;343;p26">
            <a:extLst>
              <a:ext uri="{FF2B5EF4-FFF2-40B4-BE49-F238E27FC236}">
                <a16:creationId xmlns:a16="http://schemas.microsoft.com/office/drawing/2014/main" id="{B4038930-0E51-1F15-F0BF-04F535E1BD00}"/>
              </a:ext>
            </a:extLst>
          </p:cNvPr>
          <p:cNvSpPr txBox="1">
            <a:spLocks/>
          </p:cNvSpPr>
          <p:nvPr/>
        </p:nvSpPr>
        <p:spPr>
          <a:xfrm>
            <a:off x="719138" y="6990384"/>
            <a:ext cx="5584681" cy="1864820"/>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dirty="0"/>
              <a:t>Chapter 2 - </a:t>
            </a:r>
            <a:r>
              <a:rPr lang="de-DE" dirty="0" err="1"/>
              <a:t>Connecting</a:t>
            </a:r>
            <a:r>
              <a:rPr lang="de-DE" dirty="0"/>
              <a:t> PV </a:t>
            </a:r>
            <a:r>
              <a:rPr lang="de-DE" dirty="0" err="1"/>
              <a:t>to</a:t>
            </a:r>
            <a:r>
              <a:rPr lang="de-DE" dirty="0"/>
              <a:t> a </a:t>
            </a:r>
            <a:r>
              <a:rPr lang="de-DE" dirty="0" err="1"/>
              <a:t>load</a:t>
            </a:r>
            <a:r>
              <a:rPr lang="de-DE" dirty="0"/>
              <a:t> and MPP</a:t>
            </a:r>
          </a:p>
          <a:p>
            <a:pPr marL="342900" indent="-342900">
              <a:buSzPct val="115000"/>
              <a:buFont typeface="+mj-lt"/>
              <a:buAutoNum type="arabicPeriod"/>
            </a:pPr>
            <a:r>
              <a:rPr lang="en-US" b="0" dirty="0"/>
              <a:t>PV panels in Series</a:t>
            </a:r>
          </a:p>
          <a:p>
            <a:pPr marL="342900" indent="-342900">
              <a:buSzPct val="115000"/>
              <a:buFont typeface="+mj-lt"/>
              <a:buAutoNum type="arabicPeriod"/>
            </a:pPr>
            <a:r>
              <a:rPr lang="en-US" b="0" dirty="0"/>
              <a:t>PV panels in Parallel</a:t>
            </a:r>
          </a:p>
          <a:p>
            <a:pPr marL="342900" indent="-342900">
              <a:buSzPct val="115000"/>
              <a:buFont typeface="+mj-lt"/>
              <a:buAutoNum type="arabicPeriod"/>
            </a:pPr>
            <a:r>
              <a:rPr lang="en-US" b="0" dirty="0"/>
              <a:t>Fixed load (Resistor)</a:t>
            </a:r>
          </a:p>
          <a:p>
            <a:pPr marL="342900" indent="-342900">
              <a:buSzPct val="115000"/>
              <a:buFont typeface="+mj-lt"/>
              <a:buAutoNum type="arabicPeriod"/>
            </a:pPr>
            <a:r>
              <a:rPr lang="en-US" b="0" dirty="0"/>
              <a:t>Changing load</a:t>
            </a:r>
          </a:p>
          <a:p>
            <a:pPr marL="342900" indent="-342900">
              <a:buSzPct val="115000"/>
              <a:buFont typeface="+mj-lt"/>
              <a:buAutoNum type="arabicPeriod"/>
            </a:pPr>
            <a:r>
              <a:rPr lang="en-US" b="0" dirty="0"/>
              <a:t>Local conditions and load changes</a:t>
            </a:r>
          </a:p>
        </p:txBody>
      </p:sp>
      <p:sp>
        <p:nvSpPr>
          <p:cNvPr id="48" name="Google Shape;343;p26">
            <a:extLst>
              <a:ext uri="{FF2B5EF4-FFF2-40B4-BE49-F238E27FC236}">
                <a16:creationId xmlns:a16="http://schemas.microsoft.com/office/drawing/2014/main" id="{8D33C125-6D64-EE54-065F-EC4E98C0EEFF}"/>
              </a:ext>
            </a:extLst>
          </p:cNvPr>
          <p:cNvSpPr txBox="1">
            <a:spLocks/>
          </p:cNvSpPr>
          <p:nvPr/>
        </p:nvSpPr>
        <p:spPr>
          <a:xfrm>
            <a:off x="6553202" y="6990384"/>
            <a:ext cx="476045" cy="1764152"/>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38</a:t>
            </a:r>
          </a:p>
          <a:p>
            <a:pPr marL="0" indent="0"/>
            <a:r>
              <a:rPr lang="de-DE" b="0"/>
              <a:t>40</a:t>
            </a:r>
          </a:p>
          <a:p>
            <a:pPr marL="0" indent="0"/>
            <a:r>
              <a:rPr lang="de-DE" b="0"/>
              <a:t>43</a:t>
            </a:r>
          </a:p>
          <a:p>
            <a:pPr marL="0" indent="0"/>
            <a:r>
              <a:rPr lang="de-DE" b="0"/>
              <a:t>47</a:t>
            </a:r>
          </a:p>
          <a:p>
            <a:pPr marL="0" indent="0"/>
            <a:r>
              <a:rPr lang="de-DE" b="0"/>
              <a:t>50</a:t>
            </a:r>
          </a:p>
          <a:p>
            <a:pPr marL="0" indent="0"/>
            <a:r>
              <a:rPr lang="de-DE" b="0"/>
              <a:t>54</a:t>
            </a:r>
          </a:p>
          <a:p>
            <a:pPr marL="0" indent="0"/>
            <a:endParaRPr lang="de-DE" b="0"/>
          </a:p>
        </p:txBody>
      </p:sp>
      <p:sp>
        <p:nvSpPr>
          <p:cNvPr id="49" name="Google Shape;343;p26">
            <a:extLst>
              <a:ext uri="{FF2B5EF4-FFF2-40B4-BE49-F238E27FC236}">
                <a16:creationId xmlns:a16="http://schemas.microsoft.com/office/drawing/2014/main" id="{82127627-34E5-8BD9-1F2B-D74DDC96773B}"/>
              </a:ext>
            </a:extLst>
          </p:cNvPr>
          <p:cNvSpPr txBox="1">
            <a:spLocks/>
          </p:cNvSpPr>
          <p:nvPr/>
        </p:nvSpPr>
        <p:spPr>
          <a:xfrm>
            <a:off x="719136" y="1912517"/>
            <a:ext cx="5584681"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err="1"/>
              <a:t>Why</a:t>
            </a:r>
            <a:r>
              <a:rPr lang="de-DE"/>
              <a:t> </a:t>
            </a:r>
            <a:r>
              <a:rPr lang="de-DE" err="1"/>
              <a:t>is</a:t>
            </a:r>
            <a:r>
              <a:rPr lang="de-DE"/>
              <a:t> PV </a:t>
            </a:r>
            <a:r>
              <a:rPr lang="de-DE" err="1"/>
              <a:t>important</a:t>
            </a:r>
            <a:r>
              <a:rPr lang="de-DE"/>
              <a:t>?</a:t>
            </a:r>
          </a:p>
        </p:txBody>
      </p:sp>
      <p:sp>
        <p:nvSpPr>
          <p:cNvPr id="50" name="Google Shape;343;p26">
            <a:extLst>
              <a:ext uri="{FF2B5EF4-FFF2-40B4-BE49-F238E27FC236}">
                <a16:creationId xmlns:a16="http://schemas.microsoft.com/office/drawing/2014/main" id="{B1E9342D-20C5-A7BB-6B01-D3B48DE03065}"/>
              </a:ext>
            </a:extLst>
          </p:cNvPr>
          <p:cNvSpPr txBox="1">
            <a:spLocks/>
          </p:cNvSpPr>
          <p:nvPr/>
        </p:nvSpPr>
        <p:spPr>
          <a:xfrm>
            <a:off x="6553200" y="1912517"/>
            <a:ext cx="476045"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6</a:t>
            </a:r>
          </a:p>
        </p:txBody>
      </p:sp>
      <p:sp>
        <p:nvSpPr>
          <p:cNvPr id="2" name="Google Shape;343;p26">
            <a:extLst>
              <a:ext uri="{FF2B5EF4-FFF2-40B4-BE49-F238E27FC236}">
                <a16:creationId xmlns:a16="http://schemas.microsoft.com/office/drawing/2014/main" id="{78EF8FC4-C080-D74B-FA0A-DAA361DC6682}"/>
              </a:ext>
            </a:extLst>
          </p:cNvPr>
          <p:cNvSpPr txBox="1">
            <a:spLocks/>
          </p:cNvSpPr>
          <p:nvPr/>
        </p:nvSpPr>
        <p:spPr>
          <a:xfrm>
            <a:off x="719138" y="2577065"/>
            <a:ext cx="5584681"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err="1"/>
              <a:t>Definitions</a:t>
            </a:r>
            <a:endParaRPr lang="de-DE"/>
          </a:p>
        </p:txBody>
      </p:sp>
      <p:sp>
        <p:nvSpPr>
          <p:cNvPr id="3" name="Google Shape;343;p26">
            <a:extLst>
              <a:ext uri="{FF2B5EF4-FFF2-40B4-BE49-F238E27FC236}">
                <a16:creationId xmlns:a16="http://schemas.microsoft.com/office/drawing/2014/main" id="{76F9D1EE-0C21-10A1-E052-258283432ED0}"/>
              </a:ext>
            </a:extLst>
          </p:cNvPr>
          <p:cNvSpPr txBox="1">
            <a:spLocks/>
          </p:cNvSpPr>
          <p:nvPr/>
        </p:nvSpPr>
        <p:spPr>
          <a:xfrm>
            <a:off x="6553202" y="2577065"/>
            <a:ext cx="476045"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7</a:t>
            </a:r>
          </a:p>
        </p:txBody>
      </p:sp>
      <p:sp>
        <p:nvSpPr>
          <p:cNvPr id="8" name="Google Shape;343;p26">
            <a:extLst>
              <a:ext uri="{FF2B5EF4-FFF2-40B4-BE49-F238E27FC236}">
                <a16:creationId xmlns:a16="http://schemas.microsoft.com/office/drawing/2014/main" id="{15ED10ED-72D0-7C41-0A2C-B00A959BEB24}"/>
              </a:ext>
            </a:extLst>
          </p:cNvPr>
          <p:cNvSpPr txBox="1">
            <a:spLocks/>
          </p:cNvSpPr>
          <p:nvPr/>
        </p:nvSpPr>
        <p:spPr>
          <a:xfrm>
            <a:off x="719138" y="3269246"/>
            <a:ext cx="5584681"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err="1"/>
              <a:t>How</a:t>
            </a:r>
            <a:r>
              <a:rPr lang="de-DE"/>
              <a:t> </a:t>
            </a:r>
            <a:r>
              <a:rPr lang="de-DE" err="1"/>
              <a:t>to</a:t>
            </a:r>
            <a:r>
              <a:rPr lang="de-DE"/>
              <a:t> </a:t>
            </a:r>
            <a:r>
              <a:rPr lang="de-DE" err="1"/>
              <a:t>use</a:t>
            </a:r>
            <a:r>
              <a:rPr lang="de-DE"/>
              <a:t> a Multimeter</a:t>
            </a:r>
          </a:p>
        </p:txBody>
      </p:sp>
      <p:sp>
        <p:nvSpPr>
          <p:cNvPr id="9" name="Google Shape;343;p26">
            <a:extLst>
              <a:ext uri="{FF2B5EF4-FFF2-40B4-BE49-F238E27FC236}">
                <a16:creationId xmlns:a16="http://schemas.microsoft.com/office/drawing/2014/main" id="{76C15B44-A578-3330-F7A0-7ED133AC6148}"/>
              </a:ext>
            </a:extLst>
          </p:cNvPr>
          <p:cNvSpPr txBox="1">
            <a:spLocks/>
          </p:cNvSpPr>
          <p:nvPr/>
        </p:nvSpPr>
        <p:spPr>
          <a:xfrm>
            <a:off x="6553202" y="3269246"/>
            <a:ext cx="476045"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8</a:t>
            </a:r>
          </a:p>
        </p:txBody>
      </p:sp>
      <p:sp>
        <p:nvSpPr>
          <p:cNvPr id="10" name="Google Shape;343;p26">
            <a:extLst>
              <a:ext uri="{FF2B5EF4-FFF2-40B4-BE49-F238E27FC236}">
                <a16:creationId xmlns:a16="http://schemas.microsoft.com/office/drawing/2014/main" id="{696AEE1D-4D81-5C7E-D163-1F8A6BF101F6}"/>
              </a:ext>
            </a:extLst>
          </p:cNvPr>
          <p:cNvSpPr txBox="1">
            <a:spLocks/>
          </p:cNvSpPr>
          <p:nvPr/>
        </p:nvSpPr>
        <p:spPr>
          <a:xfrm>
            <a:off x="719138" y="3961427"/>
            <a:ext cx="5584681"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err="1"/>
              <a:t>Introduction</a:t>
            </a:r>
            <a:r>
              <a:rPr lang="de-DE"/>
              <a:t> </a:t>
            </a:r>
            <a:r>
              <a:rPr lang="de-DE" err="1"/>
              <a:t>into</a:t>
            </a:r>
            <a:r>
              <a:rPr lang="de-DE"/>
              <a:t> </a:t>
            </a:r>
            <a:r>
              <a:rPr lang="de-DE" err="1"/>
              <a:t>the</a:t>
            </a:r>
            <a:r>
              <a:rPr lang="de-DE"/>
              <a:t> Experiment KIT</a:t>
            </a:r>
          </a:p>
        </p:txBody>
      </p:sp>
      <p:sp>
        <p:nvSpPr>
          <p:cNvPr id="11" name="Google Shape;343;p26">
            <a:extLst>
              <a:ext uri="{FF2B5EF4-FFF2-40B4-BE49-F238E27FC236}">
                <a16:creationId xmlns:a16="http://schemas.microsoft.com/office/drawing/2014/main" id="{B66365CA-4A7F-9F20-622F-D2454B7EB579}"/>
              </a:ext>
            </a:extLst>
          </p:cNvPr>
          <p:cNvSpPr txBox="1">
            <a:spLocks/>
          </p:cNvSpPr>
          <p:nvPr/>
        </p:nvSpPr>
        <p:spPr>
          <a:xfrm>
            <a:off x="6553202" y="3961427"/>
            <a:ext cx="476045" cy="403157"/>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10</a:t>
            </a:r>
          </a:p>
        </p:txBody>
      </p:sp>
    </p:spTree>
    <p:extLst>
      <p:ext uri="{BB962C8B-B14F-4D97-AF65-F5344CB8AC3E}">
        <p14:creationId xmlns:p14="http://schemas.microsoft.com/office/powerpoint/2010/main" val="8555084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de-DE" smtClean="0"/>
              <a:t>40</a:t>
            </a:fld>
            <a:endParaRPr lang="de-DE"/>
          </a:p>
        </p:txBody>
      </p:sp>
      <p:sp>
        <p:nvSpPr>
          <p:cNvPr id="4" name="Titel 1">
            <a:extLst>
              <a:ext uri="{FF2B5EF4-FFF2-40B4-BE49-F238E27FC236}">
                <a16:creationId xmlns:a16="http://schemas.microsoft.com/office/drawing/2014/main" id="{9FED2E82-8B4E-CED3-E7CC-13BEEA6B927D}"/>
              </a:ext>
            </a:extLst>
          </p:cNvPr>
          <p:cNvSpPr>
            <a:spLocks noGrp="1"/>
          </p:cNvSpPr>
          <p:nvPr>
            <p:ph type="title"/>
          </p:nvPr>
        </p:nvSpPr>
        <p:spPr>
          <a:xfrm>
            <a:off x="589649" y="1121461"/>
            <a:ext cx="6380336" cy="672245"/>
          </a:xfrm>
        </p:spPr>
        <p:txBody>
          <a:bodyPr/>
          <a:lstStyle/>
          <a:p>
            <a:r>
              <a:rPr lang="de-DE"/>
              <a:t>1. PV </a:t>
            </a:r>
            <a:r>
              <a:rPr lang="de-DE" err="1"/>
              <a:t>panels</a:t>
            </a:r>
            <a:r>
              <a:rPr lang="de-DE"/>
              <a:t> in </a:t>
            </a:r>
            <a:r>
              <a:rPr lang="de-DE" err="1"/>
              <a:t>series</a:t>
            </a:r>
            <a:endParaRPr lang="de-DE"/>
          </a:p>
        </p:txBody>
      </p:sp>
      <p:sp>
        <p:nvSpPr>
          <p:cNvPr id="5" name="Untertitel 5">
            <a:extLst>
              <a:ext uri="{FF2B5EF4-FFF2-40B4-BE49-F238E27FC236}">
                <a16:creationId xmlns:a16="http://schemas.microsoft.com/office/drawing/2014/main" id="{E6634E1F-ED4E-EBC3-8C25-332130472F39}"/>
              </a:ext>
            </a:extLst>
          </p:cNvPr>
          <p:cNvSpPr txBox="1">
            <a:spLocks/>
          </p:cNvSpPr>
          <p:nvPr/>
        </p:nvSpPr>
        <p:spPr>
          <a:xfrm>
            <a:off x="1104692" y="269477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6" name="Untertitel 3">
            <a:extLst>
              <a:ext uri="{FF2B5EF4-FFF2-40B4-BE49-F238E27FC236}">
                <a16:creationId xmlns:a16="http://schemas.microsoft.com/office/drawing/2014/main" id="{60826006-F73F-8F4D-B400-0565C4DD04A9}"/>
              </a:ext>
            </a:extLst>
          </p:cNvPr>
          <p:cNvSpPr txBox="1">
            <a:spLocks/>
          </p:cNvSpPr>
          <p:nvPr/>
        </p:nvSpPr>
        <p:spPr>
          <a:xfrm>
            <a:off x="719137" y="1944537"/>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In this chapter, you will understand the effect of connecting two PV cells in a series.</a:t>
            </a:r>
            <a:endParaRPr lang="de-DE"/>
          </a:p>
        </p:txBody>
      </p:sp>
      <p:sp>
        <p:nvSpPr>
          <p:cNvPr id="7" name="Untertitel 3">
            <a:extLst>
              <a:ext uri="{FF2B5EF4-FFF2-40B4-BE49-F238E27FC236}">
                <a16:creationId xmlns:a16="http://schemas.microsoft.com/office/drawing/2014/main" id="{2E9A378D-8DB5-F059-10CF-019382FA312B}"/>
              </a:ext>
            </a:extLst>
          </p:cNvPr>
          <p:cNvSpPr txBox="1">
            <a:spLocks/>
          </p:cNvSpPr>
          <p:nvPr/>
        </p:nvSpPr>
        <p:spPr>
          <a:xfrm>
            <a:off x="742891" y="5613080"/>
            <a:ext cx="5933119" cy="178616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a:t>Follow these steps to conduct the experiment:</a:t>
            </a:r>
          </a:p>
          <a:p>
            <a:pPr>
              <a:buFont typeface="+mj-lt"/>
              <a:buAutoNum type="arabicPeriod"/>
            </a:pPr>
            <a:r>
              <a:rPr lang="en-US"/>
              <a:t>Make sure both PV panels receive the same amount of light.</a:t>
            </a:r>
          </a:p>
          <a:p>
            <a:pPr>
              <a:buFont typeface="+mj-lt"/>
              <a:buAutoNum type="arabicPeriod"/>
            </a:pPr>
            <a:r>
              <a:rPr lang="en-US"/>
              <a:t>Now write down what voltage U and what current I one panel has and write it down.</a:t>
            </a:r>
          </a:p>
          <a:p>
            <a:pPr>
              <a:buFont typeface="+mj-lt"/>
              <a:buAutoNum type="arabicPeriod"/>
            </a:pPr>
            <a:r>
              <a:rPr lang="en-US"/>
              <a:t>Connect the positive terminal of the first PV panel to the negative terminal of the second PV panel.</a:t>
            </a:r>
          </a:p>
          <a:p>
            <a:pPr>
              <a:buFont typeface="+mj-lt"/>
              <a:buAutoNum type="arabicPeriod"/>
            </a:pPr>
            <a:r>
              <a:rPr lang="en-US"/>
              <a:t>Connect the multimeter to the remaining positive and negative terminals to measure the voltage and current.</a:t>
            </a:r>
          </a:p>
          <a:p>
            <a:pPr>
              <a:buFont typeface="+mj-lt"/>
              <a:buAutoNum type="arabicPeriod"/>
            </a:pPr>
            <a:r>
              <a:rPr lang="en-US"/>
              <a:t>Write down the following values:</a:t>
            </a:r>
          </a:p>
        </p:txBody>
      </p:sp>
      <p:sp>
        <p:nvSpPr>
          <p:cNvPr id="8" name="Ellipse 7">
            <a:extLst>
              <a:ext uri="{FF2B5EF4-FFF2-40B4-BE49-F238E27FC236}">
                <a16:creationId xmlns:a16="http://schemas.microsoft.com/office/drawing/2014/main" id="{F309E364-4510-6EA0-B942-89FF1547896D}"/>
              </a:ext>
            </a:extLst>
          </p:cNvPr>
          <p:cNvSpPr>
            <a:spLocks noChangeAspect="1"/>
          </p:cNvSpPr>
          <p:nvPr/>
        </p:nvSpPr>
        <p:spPr>
          <a:xfrm>
            <a:off x="730528" y="266528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descr="Lupe mit einfarbiger Füllung">
            <a:extLst>
              <a:ext uri="{FF2B5EF4-FFF2-40B4-BE49-F238E27FC236}">
                <a16:creationId xmlns:a16="http://schemas.microsoft.com/office/drawing/2014/main" id="{26E19198-3DC9-0B46-7676-34A8E0CE74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601" y="2728961"/>
            <a:ext cx="333865" cy="333865"/>
          </a:xfrm>
          <a:prstGeom prst="rect">
            <a:avLst/>
          </a:prstGeom>
        </p:spPr>
      </p:pic>
      <p:sp>
        <p:nvSpPr>
          <p:cNvPr id="9" name="Rechteck 8">
            <a:extLst>
              <a:ext uri="{FF2B5EF4-FFF2-40B4-BE49-F238E27FC236}">
                <a16:creationId xmlns:a16="http://schemas.microsoft.com/office/drawing/2014/main" id="{4D387D8D-F8F0-B2EA-4880-22E503CFD85E}"/>
              </a:ext>
            </a:extLst>
          </p:cNvPr>
          <p:cNvSpPr/>
          <p:nvPr/>
        </p:nvSpPr>
        <p:spPr>
          <a:xfrm>
            <a:off x="730528" y="3488043"/>
            <a:ext cx="5740172" cy="1909098"/>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Untertitel 2">
            <a:extLst>
              <a:ext uri="{FF2B5EF4-FFF2-40B4-BE49-F238E27FC236}">
                <a16:creationId xmlns:a16="http://schemas.microsoft.com/office/drawing/2014/main" id="{7DBB0F79-1DB5-6396-A5C4-0BBE18530FCE}"/>
              </a:ext>
            </a:extLst>
          </p:cNvPr>
          <p:cNvSpPr txBox="1">
            <a:spLocks/>
          </p:cNvSpPr>
          <p:nvPr/>
        </p:nvSpPr>
        <p:spPr>
          <a:xfrm>
            <a:off x="1110772" y="4192129"/>
            <a:ext cx="4979684" cy="100091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One Lamp, yellow light bulb</a:t>
            </a:r>
          </a:p>
          <a:p>
            <a:pPr>
              <a:buClrTx/>
              <a:buFont typeface="Arial" panose="020B0604020202020204" pitchFamily="34" charset="0"/>
              <a:buChar char="•"/>
            </a:pPr>
            <a:r>
              <a:rPr lang="en-US" sz="1150"/>
              <a:t>PV modules (small) </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Various cables</a:t>
            </a:r>
          </a:p>
          <a:p>
            <a:pPr>
              <a:buClrTx/>
              <a:buFont typeface="Arial" panose="020B0604020202020204" pitchFamily="34" charset="0"/>
              <a:buChar char="•"/>
            </a:pPr>
            <a:r>
              <a:rPr lang="en-US" sz="1150"/>
              <a:t>Holder for PV panels</a:t>
            </a:r>
          </a:p>
          <a:p>
            <a:pPr>
              <a:buFont typeface="Arial" panose="020B0604020202020204" pitchFamily="34" charset="0"/>
              <a:buChar char="•"/>
            </a:pPr>
            <a:endParaRPr lang="en-US" sz="1150"/>
          </a:p>
        </p:txBody>
      </p:sp>
      <p:sp>
        <p:nvSpPr>
          <p:cNvPr id="12" name="Untertitel 5">
            <a:extLst>
              <a:ext uri="{FF2B5EF4-FFF2-40B4-BE49-F238E27FC236}">
                <a16:creationId xmlns:a16="http://schemas.microsoft.com/office/drawing/2014/main" id="{84E00281-1DB3-8406-67D3-458AB6C1B5BB}"/>
              </a:ext>
            </a:extLst>
          </p:cNvPr>
          <p:cNvSpPr txBox="1">
            <a:spLocks/>
          </p:cNvSpPr>
          <p:nvPr/>
        </p:nvSpPr>
        <p:spPr>
          <a:xfrm>
            <a:off x="892679" y="3630766"/>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13" name="Gruppieren 12">
            <a:extLst>
              <a:ext uri="{FF2B5EF4-FFF2-40B4-BE49-F238E27FC236}">
                <a16:creationId xmlns:a16="http://schemas.microsoft.com/office/drawing/2014/main" id="{7C32F558-D4D0-0AA6-34AE-3BB25B83D758}"/>
              </a:ext>
            </a:extLst>
          </p:cNvPr>
          <p:cNvGrpSpPr/>
          <p:nvPr/>
        </p:nvGrpSpPr>
        <p:grpSpPr>
          <a:xfrm>
            <a:off x="6273535" y="3263394"/>
            <a:ext cx="402475" cy="419630"/>
            <a:chOff x="6140368" y="3097011"/>
            <a:chExt cx="660145" cy="660145"/>
          </a:xfrm>
        </p:grpSpPr>
        <p:sp>
          <p:nvSpPr>
            <p:cNvPr id="14" name="Ellipse 13">
              <a:extLst>
                <a:ext uri="{FF2B5EF4-FFF2-40B4-BE49-F238E27FC236}">
                  <a16:creationId xmlns:a16="http://schemas.microsoft.com/office/drawing/2014/main" id="{9AE67AD9-2475-54E7-E445-930727BA3A9A}"/>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Grafik 14" descr="Inventar mit einfarbiger Füllung">
              <a:extLst>
                <a:ext uri="{FF2B5EF4-FFF2-40B4-BE49-F238E27FC236}">
                  <a16:creationId xmlns:a16="http://schemas.microsoft.com/office/drawing/2014/main" id="{118A3117-FB1C-93EB-F629-2020DD46AB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pic>
        <p:nvPicPr>
          <p:cNvPr id="16" name="Picture 1" descr="A light bulb with wires attached to a light bulb&#10;&#10;Description automatically generated">
            <a:extLst>
              <a:ext uri="{FF2B5EF4-FFF2-40B4-BE49-F238E27FC236}">
                <a16:creationId xmlns:a16="http://schemas.microsoft.com/office/drawing/2014/main" id="{2FF70C05-A9DC-93D4-E6DB-1F2F7688437A}"/>
              </a:ext>
            </a:extLst>
          </p:cNvPr>
          <p:cNvPicPr>
            <a:picLocks noChangeAspect="1"/>
          </p:cNvPicPr>
          <p:nvPr/>
        </p:nvPicPr>
        <p:blipFill rotWithShape="1">
          <a:blip r:embed="rId6"/>
          <a:srcRect l="23801" t="11291" r="11425" b="7594"/>
          <a:stretch/>
        </p:blipFill>
        <p:spPr>
          <a:xfrm rot="5400000">
            <a:off x="2667359" y="7690987"/>
            <a:ext cx="2224914" cy="2089611"/>
          </a:xfrm>
          <a:prstGeom prst="rect">
            <a:avLst/>
          </a:prstGeom>
          <a:ln w="28575">
            <a:noFill/>
          </a:ln>
        </p:spPr>
      </p:pic>
    </p:spTree>
    <p:extLst>
      <p:ext uri="{BB962C8B-B14F-4D97-AF65-F5344CB8AC3E}">
        <p14:creationId xmlns:p14="http://schemas.microsoft.com/office/powerpoint/2010/main" val="3735503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8844E2A-C8A1-1343-9579-6793BF37FB04}"/>
              </a:ext>
            </a:extLst>
          </p:cNvPr>
          <p:cNvSpPr>
            <a:spLocks noGrp="1"/>
          </p:cNvSpPr>
          <p:nvPr>
            <p:ph type="sldNum" sz="quarter" idx="4"/>
          </p:nvPr>
        </p:nvSpPr>
        <p:spPr/>
        <p:txBody>
          <a:bodyPr/>
          <a:lstStyle/>
          <a:p>
            <a:fld id="{DF7F771E-9578-4C04-B869-01AF4C35C90C}" type="slidenum">
              <a:rPr lang="de-DE" smtClean="0"/>
              <a:t>41</a:t>
            </a:fld>
            <a:endParaRPr lang="de-DE"/>
          </a:p>
        </p:txBody>
      </p:sp>
      <p:sp>
        <p:nvSpPr>
          <p:cNvPr id="4" name="Untertitel 3">
            <a:extLst>
              <a:ext uri="{FF2B5EF4-FFF2-40B4-BE49-F238E27FC236}">
                <a16:creationId xmlns:a16="http://schemas.microsoft.com/office/drawing/2014/main" id="{5431BF82-64B5-5220-CF1D-C1B45BCA151A}"/>
              </a:ext>
            </a:extLst>
          </p:cNvPr>
          <p:cNvSpPr txBox="1">
            <a:spLocks/>
          </p:cNvSpPr>
          <p:nvPr/>
        </p:nvSpPr>
        <p:spPr>
          <a:xfrm>
            <a:off x="2307462" y="5727841"/>
            <a:ext cx="4360474" cy="1179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b="1"/>
              <a:t>Series Connection</a:t>
            </a:r>
          </a:p>
          <a:p>
            <a:pPr marL="139700" indent="0"/>
            <a:r>
              <a:rPr lang="en-US"/>
              <a:t>Think of the classic string of holiday lights. If one bulb goes out, the entire string stops working. This is because holiday lights are often connected in series. In a series circuit, electricity flows through each bulb one after the other. If one bulb breaks, it breaks the circuit, and all the lights go out</a:t>
            </a:r>
          </a:p>
        </p:txBody>
      </p:sp>
      <p:sp>
        <p:nvSpPr>
          <p:cNvPr id="5" name="Untertitel 5">
            <a:extLst>
              <a:ext uri="{FF2B5EF4-FFF2-40B4-BE49-F238E27FC236}">
                <a16:creationId xmlns:a16="http://schemas.microsoft.com/office/drawing/2014/main" id="{CF26C397-7A26-F820-C157-1C8CEF120837}"/>
              </a:ext>
            </a:extLst>
          </p:cNvPr>
          <p:cNvSpPr txBox="1">
            <a:spLocks/>
          </p:cNvSpPr>
          <p:nvPr/>
        </p:nvSpPr>
        <p:spPr>
          <a:xfrm>
            <a:off x="728017" y="531638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err="1">
                <a:solidFill>
                  <a:schemeClr val="accent2"/>
                </a:solidFill>
              </a:rPr>
              <a:t>Example</a:t>
            </a:r>
            <a:endParaRPr lang="de-DE" sz="1200">
              <a:solidFill>
                <a:schemeClr val="accent2"/>
              </a:solidFill>
            </a:endParaRPr>
          </a:p>
        </p:txBody>
      </p:sp>
      <p:grpSp>
        <p:nvGrpSpPr>
          <p:cNvPr id="6" name="Gruppieren 5">
            <a:extLst>
              <a:ext uri="{FF2B5EF4-FFF2-40B4-BE49-F238E27FC236}">
                <a16:creationId xmlns:a16="http://schemas.microsoft.com/office/drawing/2014/main" id="{898415B5-B30C-62C6-5BE5-62EF7F7EEB29}"/>
              </a:ext>
            </a:extLst>
          </p:cNvPr>
          <p:cNvGrpSpPr/>
          <p:nvPr/>
        </p:nvGrpSpPr>
        <p:grpSpPr>
          <a:xfrm>
            <a:off x="909498" y="5861637"/>
            <a:ext cx="1314076" cy="1104568"/>
            <a:chOff x="0" y="0"/>
            <a:chExt cx="1045845" cy="1045845"/>
          </a:xfrm>
        </p:grpSpPr>
        <p:pic>
          <p:nvPicPr>
            <p:cNvPr id="7" name="Picture 3">
              <a:extLst>
                <a:ext uri="{FF2B5EF4-FFF2-40B4-BE49-F238E27FC236}">
                  <a16:creationId xmlns:a16="http://schemas.microsoft.com/office/drawing/2014/main" id="{EAA5685B-5E67-1425-76F5-90DF24A6DBC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1045845" cy="1045845"/>
            </a:xfrm>
            <a:prstGeom prst="rect">
              <a:avLst/>
            </a:prstGeom>
            <a:noFill/>
            <a:ln>
              <a:noFill/>
            </a:ln>
          </p:spPr>
        </p:pic>
        <p:sp>
          <p:nvSpPr>
            <p:cNvPr id="8" name="Ellipse 7">
              <a:extLst>
                <a:ext uri="{FF2B5EF4-FFF2-40B4-BE49-F238E27FC236}">
                  <a16:creationId xmlns:a16="http://schemas.microsoft.com/office/drawing/2014/main" id="{EE76DACF-7DCA-DE6F-F39D-FD9EF2F48F3A}"/>
                </a:ext>
              </a:extLst>
            </p:cNvPr>
            <p:cNvSpPr/>
            <p:nvPr/>
          </p:nvSpPr>
          <p:spPr>
            <a:xfrm>
              <a:off x="51547" y="844923"/>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9" name="Ellipse 8">
              <a:extLst>
                <a:ext uri="{FF2B5EF4-FFF2-40B4-BE49-F238E27FC236}">
                  <a16:creationId xmlns:a16="http://schemas.microsoft.com/office/drawing/2014/main" id="{8724FB92-A504-A513-87F6-1D32955F0E60}"/>
                </a:ext>
              </a:extLst>
            </p:cNvPr>
            <p:cNvSpPr/>
            <p:nvPr/>
          </p:nvSpPr>
          <p:spPr>
            <a:xfrm>
              <a:off x="221876" y="891988"/>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0" name="Ellipse 9">
              <a:extLst>
                <a:ext uri="{FF2B5EF4-FFF2-40B4-BE49-F238E27FC236}">
                  <a16:creationId xmlns:a16="http://schemas.microsoft.com/office/drawing/2014/main" id="{738AF06F-5BBC-5E63-C55B-1FC32AD5B7BC}"/>
                </a:ext>
              </a:extLst>
            </p:cNvPr>
            <p:cNvSpPr/>
            <p:nvPr/>
          </p:nvSpPr>
          <p:spPr>
            <a:xfrm>
              <a:off x="378759" y="905435"/>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1" name="Ellipse 10">
              <a:extLst>
                <a:ext uri="{FF2B5EF4-FFF2-40B4-BE49-F238E27FC236}">
                  <a16:creationId xmlns:a16="http://schemas.microsoft.com/office/drawing/2014/main" id="{A8080BF0-5CAE-C171-8F94-F2BF85C433A4}"/>
                </a:ext>
              </a:extLst>
            </p:cNvPr>
            <p:cNvSpPr/>
            <p:nvPr/>
          </p:nvSpPr>
          <p:spPr>
            <a:xfrm>
              <a:off x="544606" y="874059"/>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2" name="Ellipse 11">
              <a:extLst>
                <a:ext uri="{FF2B5EF4-FFF2-40B4-BE49-F238E27FC236}">
                  <a16:creationId xmlns:a16="http://schemas.microsoft.com/office/drawing/2014/main" id="{1AF2F51E-B12F-350A-FD1B-B02D35E835D5}"/>
                </a:ext>
              </a:extLst>
            </p:cNvPr>
            <p:cNvSpPr/>
            <p:nvPr/>
          </p:nvSpPr>
          <p:spPr>
            <a:xfrm>
              <a:off x="692524" y="802341"/>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3" name="Ellipse 12">
              <a:extLst>
                <a:ext uri="{FF2B5EF4-FFF2-40B4-BE49-F238E27FC236}">
                  <a16:creationId xmlns:a16="http://schemas.microsoft.com/office/drawing/2014/main" id="{F3B35B02-D0E3-1F31-8510-E9D445E11A2F}"/>
                </a:ext>
              </a:extLst>
            </p:cNvPr>
            <p:cNvSpPr/>
            <p:nvPr/>
          </p:nvSpPr>
          <p:spPr>
            <a:xfrm>
              <a:off x="905435" y="580465"/>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4" name="Ellipse 13">
              <a:extLst>
                <a:ext uri="{FF2B5EF4-FFF2-40B4-BE49-F238E27FC236}">
                  <a16:creationId xmlns:a16="http://schemas.microsoft.com/office/drawing/2014/main" id="{DF37C67C-B074-B7D9-FE32-C0A9BB6A190F}"/>
                </a:ext>
              </a:extLst>
            </p:cNvPr>
            <p:cNvSpPr/>
            <p:nvPr/>
          </p:nvSpPr>
          <p:spPr>
            <a:xfrm>
              <a:off x="741829" y="589429"/>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grpSp>
      <p:pic>
        <p:nvPicPr>
          <p:cNvPr id="2" name="Grafik 1">
            <a:extLst>
              <a:ext uri="{FF2B5EF4-FFF2-40B4-BE49-F238E27FC236}">
                <a16:creationId xmlns:a16="http://schemas.microsoft.com/office/drawing/2014/main" id="{DEF7507A-222F-8A3C-7E5B-FD08269FB9E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51851" y="3500829"/>
            <a:ext cx="2884645" cy="1724754"/>
          </a:xfrm>
          <a:prstGeom prst="rect">
            <a:avLst/>
          </a:prstGeom>
          <a:noFill/>
        </p:spPr>
      </p:pic>
      <p:pic>
        <p:nvPicPr>
          <p:cNvPr id="15" name="Grafik 14" descr="Sonne mit einfarbiger Füllung">
            <a:extLst>
              <a:ext uri="{FF2B5EF4-FFF2-40B4-BE49-F238E27FC236}">
                <a16:creationId xmlns:a16="http://schemas.microsoft.com/office/drawing/2014/main" id="{AA044F7A-0DFA-41E8-9150-6249D96B78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38086" y="2690712"/>
            <a:ext cx="683506" cy="683506"/>
          </a:xfrm>
          <a:prstGeom prst="rect">
            <a:avLst/>
          </a:prstGeom>
        </p:spPr>
      </p:pic>
      <p:graphicFrame>
        <p:nvGraphicFramePr>
          <p:cNvPr id="16" name="Google Shape;630;p38">
            <a:extLst>
              <a:ext uri="{FF2B5EF4-FFF2-40B4-BE49-F238E27FC236}">
                <a16:creationId xmlns:a16="http://schemas.microsoft.com/office/drawing/2014/main" id="{43EAC209-7A40-AA56-569D-B8DD9148E1C1}"/>
              </a:ext>
            </a:extLst>
          </p:cNvPr>
          <p:cNvGraphicFramePr/>
          <p:nvPr>
            <p:extLst>
              <p:ext uri="{D42A27DB-BD31-4B8C-83A1-F6EECF244321}">
                <p14:modId xmlns:p14="http://schemas.microsoft.com/office/powerpoint/2010/main" val="2433361265"/>
              </p:ext>
            </p:extLst>
          </p:nvPr>
        </p:nvGraphicFramePr>
        <p:xfrm>
          <a:off x="719138" y="1277938"/>
          <a:ext cx="5919009" cy="1035346"/>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Light Source</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Open-Circuit </a:t>
                      </a:r>
                      <a:r>
                        <a:rPr lang="de-DE" sz="1000" b="1" err="1">
                          <a:solidFill>
                            <a:schemeClr val="dk1"/>
                          </a:solidFill>
                          <a:latin typeface="Epilogue"/>
                          <a:ea typeface="Epilogue"/>
                          <a:cs typeface="Epilogue"/>
                          <a:sym typeface="Epilogue"/>
                        </a:rPr>
                        <a:t>Voltage</a:t>
                      </a:r>
                      <a:r>
                        <a:rPr lang="de-DE" sz="1000" b="1">
                          <a:solidFill>
                            <a:schemeClr val="dk1"/>
                          </a:solidFill>
                          <a:latin typeface="Epilogue"/>
                          <a:ea typeface="Epilogue"/>
                          <a:cs typeface="Epilogue"/>
                          <a:sym typeface="Epilogue"/>
                        </a:rPr>
                        <a:t> (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Short-Circuit </a:t>
                      </a:r>
                      <a:r>
                        <a:rPr lang="de-DE" sz="1000" b="1" err="1">
                          <a:solidFill>
                            <a:schemeClr val="dk1"/>
                          </a:solidFill>
                          <a:latin typeface="Epilogue"/>
                          <a:ea typeface="Epilogue"/>
                          <a:cs typeface="Epilogue"/>
                          <a:sym typeface="Epilogue"/>
                        </a:rPr>
                        <a:t>Current</a:t>
                      </a:r>
                      <a:r>
                        <a:rPr lang="de-DE" sz="1000" b="1">
                          <a:solidFill>
                            <a:schemeClr val="dk1"/>
                          </a:solidFill>
                          <a:latin typeface="Epilogue"/>
                          <a:ea typeface="Epilogue"/>
                          <a:cs typeface="Epilogue"/>
                          <a:sym typeface="Epilogue"/>
                        </a:rPr>
                        <a:t> (I) </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000" b="1" err="1">
                          <a:solidFill>
                            <a:schemeClr val="dk1"/>
                          </a:solidFill>
                          <a:latin typeface="Sofia Sans"/>
                          <a:ea typeface="Sofia Sans"/>
                          <a:cs typeface="Sofia Sans"/>
                          <a:sym typeface="Sofia Sans"/>
                        </a:rPr>
                        <a:t>One</a:t>
                      </a:r>
                      <a:r>
                        <a:rPr lang="de-DE" sz="1000" b="1">
                          <a:solidFill>
                            <a:schemeClr val="dk1"/>
                          </a:solidFill>
                          <a:latin typeface="Sofia Sans"/>
                          <a:ea typeface="Sofia Sans"/>
                          <a:cs typeface="Sofia Sans"/>
                          <a:sym typeface="Sofia Sans"/>
                        </a:rPr>
                        <a:t> PV </a:t>
                      </a:r>
                      <a:r>
                        <a:rPr lang="de-DE" sz="1000" b="1" err="1">
                          <a:solidFill>
                            <a:schemeClr val="dk1"/>
                          </a:solidFill>
                          <a:latin typeface="Sofia Sans"/>
                          <a:ea typeface="Sofia Sans"/>
                          <a:cs typeface="Sofia Sans"/>
                          <a:sym typeface="Sofia Sans"/>
                        </a:rPr>
                        <a:t>panel</a:t>
                      </a:r>
                      <a:endParaRPr sz="1000" b="1">
                        <a:solidFill>
                          <a:schemeClr val="dk1"/>
                        </a:solidFill>
                        <a:highlight>
                          <a:srgbClr val="FFFF00"/>
                        </a:highlight>
                        <a:latin typeface="Sofia Sans"/>
                        <a:ea typeface="Sofia Sans"/>
                        <a:cs typeface="Sofia Sans"/>
                        <a:sym typeface="Sofia Sans"/>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de-DE" sz="1000" b="1">
                          <a:solidFill>
                            <a:schemeClr val="dk1"/>
                          </a:solidFill>
                          <a:latin typeface="Sofia Sans"/>
                          <a:ea typeface="Sofia Sans"/>
                          <a:cs typeface="Sofia Sans"/>
                          <a:sym typeface="Sofia Sans"/>
                        </a:rPr>
                        <a:t>Series </a:t>
                      </a:r>
                      <a:r>
                        <a:rPr lang="de-DE" sz="1000" b="1" err="1">
                          <a:solidFill>
                            <a:schemeClr val="dk1"/>
                          </a:solidFill>
                          <a:latin typeface="Sofia Sans"/>
                          <a:ea typeface="Sofia Sans"/>
                          <a:cs typeface="Sofia Sans"/>
                          <a:sym typeface="Sofia Sans"/>
                        </a:rPr>
                        <a:t>of</a:t>
                      </a:r>
                      <a:r>
                        <a:rPr lang="de-DE" sz="1000" b="1">
                          <a:solidFill>
                            <a:schemeClr val="dk1"/>
                          </a:solidFill>
                          <a:latin typeface="Sofia Sans"/>
                          <a:ea typeface="Sofia Sans"/>
                          <a:cs typeface="Sofia Sans"/>
                          <a:sym typeface="Sofia Sans"/>
                        </a:rPr>
                        <a:t> </a:t>
                      </a:r>
                      <a:r>
                        <a:rPr lang="de-DE" sz="1000" b="1" err="1">
                          <a:solidFill>
                            <a:schemeClr val="dk1"/>
                          </a:solidFill>
                          <a:latin typeface="Sofia Sans"/>
                          <a:ea typeface="Sofia Sans"/>
                          <a:cs typeface="Sofia Sans"/>
                          <a:sym typeface="Sofia Sans"/>
                        </a:rPr>
                        <a:t>connection</a:t>
                      </a:r>
                      <a:endParaRPr sz="1000" b="1">
                        <a:solidFill>
                          <a:schemeClr val="dk1"/>
                        </a:solidFill>
                        <a:highlight>
                          <a:srgbClr val="FFFF00"/>
                        </a:highlight>
                        <a:latin typeface="Sofia Sans"/>
                        <a:ea typeface="Sofia Sans"/>
                        <a:cs typeface="Sofia Sans"/>
                        <a:sym typeface="Sofia Sans"/>
                      </a:endParaRPr>
                    </a:p>
                  </a:txBody>
                  <a:tcPr marL="0" marR="0" marT="0" marB="0" anchor="ctr">
                    <a:lnL w="9525" cap="flat" cmpd="sng">
                      <a:solidFill>
                        <a:schemeClr val="dk1"/>
                      </a:solidFill>
                      <a:prstDash val="solid"/>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106053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F558FF3A-D0CA-2618-B118-4510201FB3D0}"/>
              </a:ext>
            </a:extLst>
          </p:cNvPr>
          <p:cNvSpPr>
            <a:spLocks noGrp="1"/>
          </p:cNvSpPr>
          <p:nvPr>
            <p:ph type="sldNum" sz="quarter" idx="16"/>
          </p:nvPr>
        </p:nvSpPr>
        <p:spPr/>
        <p:txBody>
          <a:bodyPr/>
          <a:lstStyle/>
          <a:p>
            <a:fld id="{DF7F771E-9578-4C04-B869-01AF4C35C90C}" type="slidenum">
              <a:rPr lang="de-DE" smtClean="0"/>
              <a:t>42</a:t>
            </a:fld>
            <a:endParaRPr lang="de-DE"/>
          </a:p>
        </p:txBody>
      </p:sp>
      <p:sp>
        <p:nvSpPr>
          <p:cNvPr id="13" name="Untertitel 3">
            <a:extLst>
              <a:ext uri="{FF2B5EF4-FFF2-40B4-BE49-F238E27FC236}">
                <a16:creationId xmlns:a16="http://schemas.microsoft.com/office/drawing/2014/main" id="{817FCBA3-EFE9-7AA6-9D84-3B990635EB2E}"/>
              </a:ext>
            </a:extLst>
          </p:cNvPr>
          <p:cNvSpPr txBox="1">
            <a:spLocks/>
          </p:cNvSpPr>
          <p:nvPr/>
        </p:nvSpPr>
        <p:spPr>
          <a:xfrm>
            <a:off x="725936" y="2257178"/>
            <a:ext cx="5933121" cy="66075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Discuss with others in the room (maybe stand up and talk to different people in the class)</a:t>
            </a:r>
          </a:p>
          <a:p>
            <a:pPr marL="139700" indent="0"/>
            <a:r>
              <a:rPr lang="en-US"/>
              <a:t>What are the PROS and CONS of series connection?</a:t>
            </a:r>
          </a:p>
        </p:txBody>
      </p:sp>
      <p:sp>
        <p:nvSpPr>
          <p:cNvPr id="14" name="Untertitel 5">
            <a:extLst>
              <a:ext uri="{FF2B5EF4-FFF2-40B4-BE49-F238E27FC236}">
                <a16:creationId xmlns:a16="http://schemas.microsoft.com/office/drawing/2014/main" id="{2F6012F6-E8F4-A191-BC75-1398C7B93EBE}"/>
              </a:ext>
            </a:extLst>
          </p:cNvPr>
          <p:cNvSpPr txBox="1">
            <a:spLocks/>
          </p:cNvSpPr>
          <p:nvPr/>
        </p:nvSpPr>
        <p:spPr>
          <a:xfrm>
            <a:off x="1162734" y="128387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6" name="Ellipse 15">
            <a:extLst>
              <a:ext uri="{FF2B5EF4-FFF2-40B4-BE49-F238E27FC236}">
                <a16:creationId xmlns:a16="http://schemas.microsoft.com/office/drawing/2014/main" id="{1D6159E8-557D-FDCD-FC65-C528B4B1091C}"/>
              </a:ext>
            </a:extLst>
          </p:cNvPr>
          <p:cNvSpPr>
            <a:spLocks noChangeAspect="1"/>
          </p:cNvSpPr>
          <p:nvPr/>
        </p:nvSpPr>
        <p:spPr>
          <a:xfrm>
            <a:off x="744093" y="1277938"/>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Skizze mit einfarbiger Füllung">
            <a:extLst>
              <a:ext uri="{FF2B5EF4-FFF2-40B4-BE49-F238E27FC236}">
                <a16:creationId xmlns:a16="http://schemas.microsoft.com/office/drawing/2014/main" id="{36920F57-8051-A4F2-51C9-3D7506450F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570" y="1341670"/>
            <a:ext cx="379044" cy="379044"/>
          </a:xfrm>
          <a:prstGeom prst="rect">
            <a:avLst/>
          </a:prstGeom>
        </p:spPr>
      </p:pic>
      <p:sp>
        <p:nvSpPr>
          <p:cNvPr id="18" name="Untertitel 5">
            <a:extLst>
              <a:ext uri="{FF2B5EF4-FFF2-40B4-BE49-F238E27FC236}">
                <a16:creationId xmlns:a16="http://schemas.microsoft.com/office/drawing/2014/main" id="{A6C3DFE2-1650-D046-8C5B-F8C5382E8E92}"/>
              </a:ext>
            </a:extLst>
          </p:cNvPr>
          <p:cNvSpPr txBox="1">
            <a:spLocks/>
          </p:cNvSpPr>
          <p:nvPr/>
        </p:nvSpPr>
        <p:spPr>
          <a:xfrm>
            <a:off x="719138" y="184572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1</a:t>
            </a:r>
          </a:p>
        </p:txBody>
      </p:sp>
      <p:graphicFrame>
        <p:nvGraphicFramePr>
          <p:cNvPr id="19" name="Google Shape;630;p38">
            <a:extLst>
              <a:ext uri="{FF2B5EF4-FFF2-40B4-BE49-F238E27FC236}">
                <a16:creationId xmlns:a16="http://schemas.microsoft.com/office/drawing/2014/main" id="{2B75F42F-F38A-988F-2091-730E4DE68E53}"/>
              </a:ext>
            </a:extLst>
          </p:cNvPr>
          <p:cNvGraphicFramePr/>
          <p:nvPr>
            <p:extLst>
              <p:ext uri="{D42A27DB-BD31-4B8C-83A1-F6EECF244321}">
                <p14:modId xmlns:p14="http://schemas.microsoft.com/office/powerpoint/2010/main" val="2218118260"/>
              </p:ext>
            </p:extLst>
          </p:nvPr>
        </p:nvGraphicFramePr>
        <p:xfrm>
          <a:off x="1162734" y="2925472"/>
          <a:ext cx="5301136" cy="3160923"/>
        </p:xfrm>
        <a:graphic>
          <a:graphicData uri="http://schemas.openxmlformats.org/drawingml/2006/table">
            <a:tbl>
              <a:tblPr>
                <a:noFill/>
                <a:tableStyleId>{F0CFADBD-3245-443C-9B6D-9ACBA4CA32A5}</a:tableStyleId>
              </a:tblPr>
              <a:tblGrid>
                <a:gridCol w="2650568">
                  <a:extLst>
                    <a:ext uri="{9D8B030D-6E8A-4147-A177-3AD203B41FA5}">
                      <a16:colId xmlns:a16="http://schemas.microsoft.com/office/drawing/2014/main" val="20001"/>
                    </a:ext>
                  </a:extLst>
                </a:gridCol>
                <a:gridCol w="2650568">
                  <a:extLst>
                    <a:ext uri="{9D8B030D-6E8A-4147-A177-3AD203B41FA5}">
                      <a16:colId xmlns:a16="http://schemas.microsoft.com/office/drawing/2014/main" val="20002"/>
                    </a:ext>
                  </a:extLst>
                </a:gridCol>
              </a:tblGrid>
              <a:tr h="339491">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PRO</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CON</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2590869">
                <a:tc>
                  <a:txBody>
                    <a:bodyPr/>
                    <a:lstStyle/>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Arial"/>
                        <a:cs typeface="Arial"/>
                        <a:sym typeface="Arial"/>
                      </a:endParaRPr>
                    </a:p>
                    <a:p>
                      <a:pPr marL="0" marR="0" lvl="0" indent="0" algn="l" rtl="0" fontAlgn="base">
                        <a:lnSpc>
                          <a:spcPct val="100000"/>
                        </a:lnSpc>
                        <a:spcBef>
                          <a:spcPts val="0"/>
                        </a:spcBef>
                        <a:spcAft>
                          <a:spcPts val="0"/>
                        </a:spcAft>
                        <a:buClr>
                          <a:srgbClr val="000000"/>
                        </a:buClr>
                        <a:buFont typeface="Arial"/>
                        <a:buNone/>
                      </a:pPr>
                      <a:endParaRPr lang="en-US" sz="1157" b="0" i="0" u="none" strike="noStrike" cap="none">
                        <a:solidFill>
                          <a:srgbClr val="FF0000"/>
                        </a:solidFill>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R="0" algn="l" rtl="0" fontAlgn="base">
                        <a:lnSpc>
                          <a:spcPct val="100000"/>
                        </a:lnSpc>
                        <a:spcBef>
                          <a:spcPts val="0"/>
                        </a:spcBef>
                        <a:spcAft>
                          <a:spcPts val="0"/>
                        </a:spcAft>
                        <a:buClr>
                          <a:srgbClr val="000000"/>
                        </a:buClr>
                        <a:buFont typeface="Arial"/>
                      </a:pPr>
                      <a:endParaRPr lang="en-US" sz="1157" b="0" i="0" u="none" strike="noStrike" cap="none">
                        <a:solidFill>
                          <a:srgbClr val="FF0000"/>
                        </a:solidFill>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
        <p:nvSpPr>
          <p:cNvPr id="20" name="Rechteck 19">
            <a:extLst>
              <a:ext uri="{FF2B5EF4-FFF2-40B4-BE49-F238E27FC236}">
                <a16:creationId xmlns:a16="http://schemas.microsoft.com/office/drawing/2014/main" id="{1939F5DF-79A6-B561-B96A-2F9BE047DEAD}"/>
              </a:ext>
            </a:extLst>
          </p:cNvPr>
          <p:cNvSpPr/>
          <p:nvPr/>
        </p:nvSpPr>
        <p:spPr>
          <a:xfrm>
            <a:off x="744093" y="6324841"/>
            <a:ext cx="5740172" cy="3115325"/>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B5F76BDE-C093-9107-606B-75F57D0DBD4E}"/>
              </a:ext>
            </a:extLst>
          </p:cNvPr>
          <p:cNvSpPr>
            <a:spLocks noChangeAspect="1"/>
          </p:cNvSpPr>
          <p:nvPr/>
        </p:nvSpPr>
        <p:spPr>
          <a:xfrm>
            <a:off x="6153933" y="6045888"/>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descr="Lesezeichen mit einfarbiger Füllung">
            <a:extLst>
              <a:ext uri="{FF2B5EF4-FFF2-40B4-BE49-F238E27FC236}">
                <a16:creationId xmlns:a16="http://schemas.microsoft.com/office/drawing/2014/main" id="{53F49540-45AB-E6E9-8588-AC066B314A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81780" y="6153857"/>
            <a:ext cx="404450" cy="404450"/>
          </a:xfrm>
          <a:prstGeom prst="rect">
            <a:avLst/>
          </a:prstGeom>
        </p:spPr>
      </p:pic>
      <p:sp>
        <p:nvSpPr>
          <p:cNvPr id="23" name="Untertitel 5">
            <a:extLst>
              <a:ext uri="{FF2B5EF4-FFF2-40B4-BE49-F238E27FC236}">
                <a16:creationId xmlns:a16="http://schemas.microsoft.com/office/drawing/2014/main" id="{F08161A4-A064-B798-FE66-AEA513B546C9}"/>
              </a:ext>
            </a:extLst>
          </p:cNvPr>
          <p:cNvSpPr txBox="1">
            <a:spLocks/>
          </p:cNvSpPr>
          <p:nvPr/>
        </p:nvSpPr>
        <p:spPr>
          <a:xfrm>
            <a:off x="919119" y="6424467"/>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24" name="Untertitel 2">
            <a:extLst>
              <a:ext uri="{FF2B5EF4-FFF2-40B4-BE49-F238E27FC236}">
                <a16:creationId xmlns:a16="http://schemas.microsoft.com/office/drawing/2014/main" id="{254D844C-B90D-D218-8121-20516ED8D98D}"/>
              </a:ext>
            </a:extLst>
          </p:cNvPr>
          <p:cNvSpPr txBox="1">
            <a:spLocks/>
          </p:cNvSpPr>
          <p:nvPr/>
        </p:nvSpPr>
        <p:spPr>
          <a:xfrm>
            <a:off x="1128938" y="6917895"/>
            <a:ext cx="4979684" cy="262580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Series connections of PV panels increase the total voltage output (sum of all voltages of individual panels), which is beneficial for high-voltage systems and improves efficiency over long-distance electricity transmission. The current in a series connection remains the same as that of an individual panel.</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Wiring PV panels in series reduces the complexity and cost of installation due to fewer required connectors and wiring component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Any shading or failure in one panel affects the entire series, limiting current output and complicating troubleshooting and maintenance efforts.</a:t>
            </a:r>
          </a:p>
        </p:txBody>
      </p:sp>
      <p:sp>
        <p:nvSpPr>
          <p:cNvPr id="2" name="Textfeld 1">
            <a:extLst>
              <a:ext uri="{FF2B5EF4-FFF2-40B4-BE49-F238E27FC236}">
                <a16:creationId xmlns:a16="http://schemas.microsoft.com/office/drawing/2014/main" id="{60DC07A7-65BE-10C1-E7AD-028451D2D99F}"/>
              </a:ext>
            </a:extLst>
          </p:cNvPr>
          <p:cNvSpPr txBox="1"/>
          <p:nvPr/>
        </p:nvSpPr>
        <p:spPr>
          <a:xfrm>
            <a:off x="3856207" y="3377902"/>
            <a:ext cx="2703443" cy="2407134"/>
          </a:xfrm>
          <a:prstGeom prst="rect">
            <a:avLst/>
          </a:prstGeom>
          <a:noFill/>
        </p:spPr>
        <p:txBody>
          <a:bodyPr wrap="square" rtlCol="0">
            <a:spAutoFit/>
          </a:bodyPr>
          <a:lstStyle/>
          <a:p>
            <a:pPr fontAlgn="base"/>
            <a:r>
              <a:rPr lang="en-US" sz="1157">
                <a:solidFill>
                  <a:srgbClr val="FF0000"/>
                </a:solidFill>
                <a:latin typeface="Sofia Sans" panose="020B0604020202020204" charset="0"/>
              </a:rPr>
              <a:t>1. Dependent Operation: If one PV module is shaded or fails, it affects the entire string of modules, reducing or stopping the energy production. </a:t>
            </a:r>
          </a:p>
          <a:p>
            <a:pPr fontAlgn="base"/>
            <a:r>
              <a:rPr lang="en-US" sz="1157">
                <a:solidFill>
                  <a:srgbClr val="FF0000"/>
                </a:solidFill>
                <a:latin typeface="Sofia Sans" panose="020B0604020202020204" charset="0"/>
              </a:rPr>
              <a:t>2. Limited Current: The current remains the same as a single module, which might not be sufficient for applications that require higher current. </a:t>
            </a:r>
          </a:p>
          <a:p>
            <a:pPr fontAlgn="base"/>
            <a:r>
              <a:rPr lang="en-US" sz="1157">
                <a:solidFill>
                  <a:srgbClr val="FF0000"/>
                </a:solidFill>
                <a:latin typeface="Sofia Sans" panose="020B0604020202020204" charset="0"/>
              </a:rPr>
              <a:t>3. Harder Maintenance: Identifying and fixing problems can be more challenging, as a failure in one module impacts the whole series, making troubleshooting more complex. </a:t>
            </a:r>
          </a:p>
        </p:txBody>
      </p:sp>
      <p:sp>
        <p:nvSpPr>
          <p:cNvPr id="3" name="Textfeld 2">
            <a:extLst>
              <a:ext uri="{FF2B5EF4-FFF2-40B4-BE49-F238E27FC236}">
                <a16:creationId xmlns:a16="http://schemas.microsoft.com/office/drawing/2014/main" id="{D5C1C37F-2703-9BEC-F4CF-40FDE3BFCCCB}"/>
              </a:ext>
            </a:extLst>
          </p:cNvPr>
          <p:cNvSpPr txBox="1"/>
          <p:nvPr/>
        </p:nvSpPr>
        <p:spPr>
          <a:xfrm>
            <a:off x="1162734" y="3371844"/>
            <a:ext cx="2703443" cy="2585195"/>
          </a:xfrm>
          <a:prstGeom prst="rect">
            <a:avLst/>
          </a:prstGeom>
          <a:noFill/>
        </p:spPr>
        <p:txBody>
          <a:bodyPr wrap="square" rtlCol="0">
            <a:spAutoFit/>
          </a:bodyPr>
          <a:lstStyle/>
          <a:p>
            <a:pPr marR="0" algn="l" rtl="0" fontAlgn="base">
              <a:lnSpc>
                <a:spcPct val="100000"/>
              </a:lnSpc>
              <a:spcBef>
                <a:spcPts val="0"/>
              </a:spcBef>
              <a:spcAft>
                <a:spcPts val="0"/>
              </a:spcAft>
              <a:buClr>
                <a:srgbClr val="000000"/>
              </a:buClr>
              <a:buFont typeface="Arial"/>
            </a:pPr>
            <a:r>
              <a:rPr lang="en-US" sz="1157" b="0" i="0" u="none" strike="noStrike" cap="none">
                <a:solidFill>
                  <a:srgbClr val="FF0000"/>
                </a:solidFill>
                <a:latin typeface="Sofia Sans" panose="020B0604020202020204" charset="0"/>
                <a:sym typeface="Arial"/>
              </a:rPr>
              <a:t>1. Increased Voltage: The voltage (volts) of each module adds up, providing a higher total voltage, which is beneficial for systems that require higher voltage levels. </a:t>
            </a:r>
          </a:p>
          <a:p>
            <a:pPr marR="0" algn="l" rtl="0" fontAlgn="base">
              <a:lnSpc>
                <a:spcPct val="100000"/>
              </a:lnSpc>
              <a:spcBef>
                <a:spcPts val="0"/>
              </a:spcBef>
              <a:spcAft>
                <a:spcPts val="0"/>
              </a:spcAft>
              <a:buClr>
                <a:srgbClr val="000000"/>
              </a:buClr>
              <a:buFont typeface="Arial"/>
            </a:pPr>
            <a:r>
              <a:rPr lang="en-US" sz="1157" b="0" i="0" u="none" strike="noStrike" cap="none">
                <a:solidFill>
                  <a:srgbClr val="FF0000"/>
                </a:solidFill>
                <a:latin typeface="Sofia Sans" panose="020B0604020202020204" charset="0"/>
                <a:sym typeface="Arial"/>
              </a:rPr>
              <a:t>2. Simpler Wiring: Series connections typically require less wiring and fewer connectors, which can reduce installation complexity and costs. </a:t>
            </a:r>
          </a:p>
          <a:p>
            <a:pPr marR="0" algn="l" rtl="0" fontAlgn="base">
              <a:lnSpc>
                <a:spcPct val="100000"/>
              </a:lnSpc>
              <a:spcBef>
                <a:spcPts val="0"/>
              </a:spcBef>
              <a:spcAft>
                <a:spcPts val="0"/>
              </a:spcAft>
              <a:buClr>
                <a:srgbClr val="000000"/>
              </a:buClr>
              <a:buFont typeface="Arial"/>
            </a:pPr>
            <a:r>
              <a:rPr lang="en-US" sz="1157" b="0" i="0" u="none" strike="noStrike" cap="none">
                <a:solidFill>
                  <a:srgbClr val="FF0000"/>
                </a:solidFill>
                <a:latin typeface="Sofia Sans" panose="020B0604020202020204" charset="0"/>
                <a:sym typeface="Arial"/>
              </a:rPr>
              <a:t>3.Efficient for Long Distances: Higher voltage systems are more efficient for transmitting electricity over long distances, as they reduce energy losses. </a:t>
            </a:r>
          </a:p>
        </p:txBody>
      </p:sp>
    </p:spTree>
    <p:extLst>
      <p:ext uri="{BB962C8B-B14F-4D97-AF65-F5344CB8AC3E}">
        <p14:creationId xmlns:p14="http://schemas.microsoft.com/office/powerpoint/2010/main" val="19973587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2FE8ABF-7C2C-85C4-F80B-42C2FE4E59C6}"/>
              </a:ext>
            </a:extLst>
          </p:cNvPr>
          <p:cNvSpPr>
            <a:spLocks noGrp="1"/>
          </p:cNvSpPr>
          <p:nvPr>
            <p:ph type="sldNum" sz="quarter" idx="4"/>
          </p:nvPr>
        </p:nvSpPr>
        <p:spPr/>
        <p:txBody>
          <a:bodyPr/>
          <a:lstStyle/>
          <a:p>
            <a:fld id="{DF7F771E-9578-4C04-B869-01AF4C35C90C}" type="slidenum">
              <a:rPr lang="de-DE" smtClean="0"/>
              <a:t>43</a:t>
            </a:fld>
            <a:endParaRPr lang="de-DE"/>
          </a:p>
        </p:txBody>
      </p:sp>
      <p:sp>
        <p:nvSpPr>
          <p:cNvPr id="4" name="Titel 1">
            <a:extLst>
              <a:ext uri="{FF2B5EF4-FFF2-40B4-BE49-F238E27FC236}">
                <a16:creationId xmlns:a16="http://schemas.microsoft.com/office/drawing/2014/main" id="{9FED2E82-8B4E-CED3-E7CC-13BEEA6B927D}"/>
              </a:ext>
            </a:extLst>
          </p:cNvPr>
          <p:cNvSpPr>
            <a:spLocks noGrp="1"/>
          </p:cNvSpPr>
          <p:nvPr>
            <p:ph type="title"/>
          </p:nvPr>
        </p:nvSpPr>
        <p:spPr>
          <a:xfrm>
            <a:off x="589649" y="1121461"/>
            <a:ext cx="6380336" cy="636036"/>
          </a:xfrm>
        </p:spPr>
        <p:txBody>
          <a:bodyPr/>
          <a:lstStyle/>
          <a:p>
            <a:r>
              <a:rPr lang="de-DE"/>
              <a:t>2. PV </a:t>
            </a:r>
            <a:r>
              <a:rPr lang="de-DE" err="1"/>
              <a:t>panels</a:t>
            </a:r>
            <a:r>
              <a:rPr lang="de-DE"/>
              <a:t> in parallel</a:t>
            </a:r>
          </a:p>
        </p:txBody>
      </p:sp>
      <p:sp>
        <p:nvSpPr>
          <p:cNvPr id="6" name="Untertitel 3">
            <a:extLst>
              <a:ext uri="{FF2B5EF4-FFF2-40B4-BE49-F238E27FC236}">
                <a16:creationId xmlns:a16="http://schemas.microsoft.com/office/drawing/2014/main" id="{60826006-F73F-8F4D-B400-0565C4DD04A9}"/>
              </a:ext>
            </a:extLst>
          </p:cNvPr>
          <p:cNvSpPr txBox="1">
            <a:spLocks/>
          </p:cNvSpPr>
          <p:nvPr/>
        </p:nvSpPr>
        <p:spPr>
          <a:xfrm>
            <a:off x="719138" y="1944537"/>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In this chapter, you will understand the effect of connecting two PV cells in parallel.</a:t>
            </a:r>
            <a:endParaRPr lang="de-DE"/>
          </a:p>
        </p:txBody>
      </p:sp>
      <p:sp>
        <p:nvSpPr>
          <p:cNvPr id="7" name="Untertitel 3">
            <a:extLst>
              <a:ext uri="{FF2B5EF4-FFF2-40B4-BE49-F238E27FC236}">
                <a16:creationId xmlns:a16="http://schemas.microsoft.com/office/drawing/2014/main" id="{2E9A378D-8DB5-F059-10CF-019382FA312B}"/>
              </a:ext>
            </a:extLst>
          </p:cNvPr>
          <p:cNvSpPr txBox="1">
            <a:spLocks/>
          </p:cNvSpPr>
          <p:nvPr/>
        </p:nvSpPr>
        <p:spPr>
          <a:xfrm>
            <a:off x="745749" y="5677573"/>
            <a:ext cx="5919009" cy="158443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Follow these steps to conduct the experiment:</a:t>
            </a:r>
          </a:p>
          <a:p>
            <a:pPr>
              <a:buFont typeface="+mj-lt"/>
              <a:buAutoNum type="arabicPeriod"/>
            </a:pPr>
            <a:r>
              <a:rPr lang="en-US"/>
              <a:t>Make sure both PV panels receive the same amount of light.</a:t>
            </a:r>
          </a:p>
          <a:p>
            <a:pPr>
              <a:buFont typeface="+mj-lt"/>
              <a:buAutoNum type="arabicPeriod"/>
            </a:pPr>
            <a:r>
              <a:rPr lang="en-US"/>
              <a:t>Now write down what voltage U and what current I one panel has and write it down.</a:t>
            </a:r>
          </a:p>
          <a:p>
            <a:pPr>
              <a:buFont typeface="+mj-lt"/>
              <a:buAutoNum type="arabicPeriod"/>
            </a:pPr>
            <a:r>
              <a:rPr lang="en-US"/>
              <a:t>Connect the positive terminals of both PV panels together.</a:t>
            </a:r>
          </a:p>
          <a:p>
            <a:pPr>
              <a:buFont typeface="+mj-lt"/>
              <a:buAutoNum type="arabicPeriod"/>
            </a:pPr>
            <a:r>
              <a:rPr lang="en-US"/>
              <a:t>Connect the negative terminals of both PV panels together.</a:t>
            </a:r>
          </a:p>
          <a:p>
            <a:pPr>
              <a:buFont typeface="+mj-lt"/>
              <a:buAutoNum type="arabicPeriod"/>
            </a:pPr>
            <a:r>
              <a:rPr lang="en-US"/>
              <a:t>Connect the multimeter to the combined positive and negative terminals to measure the voltage and current.</a:t>
            </a:r>
          </a:p>
          <a:p>
            <a:endParaRPr lang="en-US"/>
          </a:p>
          <a:p>
            <a:pPr>
              <a:buFont typeface="+mj-lt"/>
              <a:buAutoNum type="arabicPeriod"/>
            </a:pPr>
            <a:endParaRPr lang="en-US"/>
          </a:p>
        </p:txBody>
      </p:sp>
      <p:sp>
        <p:nvSpPr>
          <p:cNvPr id="9" name="Untertitel 5">
            <a:extLst>
              <a:ext uri="{FF2B5EF4-FFF2-40B4-BE49-F238E27FC236}">
                <a16:creationId xmlns:a16="http://schemas.microsoft.com/office/drawing/2014/main" id="{DEB0FB80-7FC2-F99B-F874-86E3DFC5E3C6}"/>
              </a:ext>
            </a:extLst>
          </p:cNvPr>
          <p:cNvSpPr txBox="1">
            <a:spLocks/>
          </p:cNvSpPr>
          <p:nvPr/>
        </p:nvSpPr>
        <p:spPr>
          <a:xfrm>
            <a:off x="1104692" y="269477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16" name="Ellipse 15">
            <a:extLst>
              <a:ext uri="{FF2B5EF4-FFF2-40B4-BE49-F238E27FC236}">
                <a16:creationId xmlns:a16="http://schemas.microsoft.com/office/drawing/2014/main" id="{9E8D979F-9F85-201F-4CE9-AB798FBE082B}"/>
              </a:ext>
            </a:extLst>
          </p:cNvPr>
          <p:cNvSpPr>
            <a:spLocks noChangeAspect="1"/>
          </p:cNvSpPr>
          <p:nvPr/>
        </p:nvSpPr>
        <p:spPr>
          <a:xfrm>
            <a:off x="730528" y="266528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Lupe mit einfarbiger Füllung">
            <a:extLst>
              <a:ext uri="{FF2B5EF4-FFF2-40B4-BE49-F238E27FC236}">
                <a16:creationId xmlns:a16="http://schemas.microsoft.com/office/drawing/2014/main" id="{7D2E4D58-7DF0-5940-E363-26A96A26D5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601" y="2728961"/>
            <a:ext cx="333865" cy="333865"/>
          </a:xfrm>
          <a:prstGeom prst="rect">
            <a:avLst/>
          </a:prstGeom>
        </p:spPr>
      </p:pic>
      <p:pic>
        <p:nvPicPr>
          <p:cNvPr id="5" name="Picture 5" descr="A light bulb with wires connected to a box&#10;&#10;Description automatically generated">
            <a:extLst>
              <a:ext uri="{FF2B5EF4-FFF2-40B4-BE49-F238E27FC236}">
                <a16:creationId xmlns:a16="http://schemas.microsoft.com/office/drawing/2014/main" id="{6BD9CD07-D6FF-BAB3-7B5B-1517E0D074AE}"/>
              </a:ext>
            </a:extLst>
          </p:cNvPr>
          <p:cNvPicPr>
            <a:picLocks noChangeAspect="1"/>
          </p:cNvPicPr>
          <p:nvPr/>
        </p:nvPicPr>
        <p:blipFill rotWithShape="1">
          <a:blip r:embed="rId4"/>
          <a:srcRect t="6709" b="13121"/>
          <a:stretch/>
        </p:blipFill>
        <p:spPr>
          <a:xfrm>
            <a:off x="2622390" y="7370126"/>
            <a:ext cx="2314853" cy="2474430"/>
          </a:xfrm>
          <a:prstGeom prst="rect">
            <a:avLst/>
          </a:prstGeom>
        </p:spPr>
      </p:pic>
      <p:sp>
        <p:nvSpPr>
          <p:cNvPr id="2" name="Rechteck 1">
            <a:extLst>
              <a:ext uri="{FF2B5EF4-FFF2-40B4-BE49-F238E27FC236}">
                <a16:creationId xmlns:a16="http://schemas.microsoft.com/office/drawing/2014/main" id="{A0B7E11A-E485-9011-0B98-04307315323A}"/>
              </a:ext>
            </a:extLst>
          </p:cNvPr>
          <p:cNvSpPr/>
          <p:nvPr/>
        </p:nvSpPr>
        <p:spPr>
          <a:xfrm>
            <a:off x="745749" y="3504524"/>
            <a:ext cx="5740172" cy="1909098"/>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Untertitel 2">
            <a:extLst>
              <a:ext uri="{FF2B5EF4-FFF2-40B4-BE49-F238E27FC236}">
                <a16:creationId xmlns:a16="http://schemas.microsoft.com/office/drawing/2014/main" id="{25B5C67C-2576-6483-6D8C-7B3139766729}"/>
              </a:ext>
            </a:extLst>
          </p:cNvPr>
          <p:cNvSpPr txBox="1">
            <a:spLocks/>
          </p:cNvSpPr>
          <p:nvPr/>
        </p:nvSpPr>
        <p:spPr>
          <a:xfrm>
            <a:off x="1125993" y="4065888"/>
            <a:ext cx="4979684" cy="11436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One Lamp, yellow light bulb</a:t>
            </a:r>
          </a:p>
          <a:p>
            <a:pPr>
              <a:buClrTx/>
              <a:buFont typeface="Arial" panose="020B0604020202020204" pitchFamily="34" charset="0"/>
              <a:buChar char="•"/>
            </a:pPr>
            <a:r>
              <a:rPr lang="en-US" sz="1150"/>
              <a:t>PV modules (small) </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Various cables</a:t>
            </a:r>
          </a:p>
          <a:p>
            <a:pPr>
              <a:buClrTx/>
              <a:buFont typeface="Arial" panose="020B0604020202020204" pitchFamily="34" charset="0"/>
              <a:buChar char="•"/>
            </a:pPr>
            <a:r>
              <a:rPr lang="en-US" sz="1150"/>
              <a:t>Holder for PV panels</a:t>
            </a:r>
          </a:p>
        </p:txBody>
      </p:sp>
      <p:sp>
        <p:nvSpPr>
          <p:cNvPr id="10" name="Untertitel 5">
            <a:extLst>
              <a:ext uri="{FF2B5EF4-FFF2-40B4-BE49-F238E27FC236}">
                <a16:creationId xmlns:a16="http://schemas.microsoft.com/office/drawing/2014/main" id="{1377A5DC-79F3-8AA5-582B-1644C8D66BB8}"/>
              </a:ext>
            </a:extLst>
          </p:cNvPr>
          <p:cNvSpPr txBox="1">
            <a:spLocks/>
          </p:cNvSpPr>
          <p:nvPr/>
        </p:nvSpPr>
        <p:spPr>
          <a:xfrm>
            <a:off x="907900" y="3647247"/>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12" name="Gruppieren 11">
            <a:extLst>
              <a:ext uri="{FF2B5EF4-FFF2-40B4-BE49-F238E27FC236}">
                <a16:creationId xmlns:a16="http://schemas.microsoft.com/office/drawing/2014/main" id="{46667124-FD77-36AB-D66E-E460480728F0}"/>
              </a:ext>
            </a:extLst>
          </p:cNvPr>
          <p:cNvGrpSpPr/>
          <p:nvPr/>
        </p:nvGrpSpPr>
        <p:grpSpPr>
          <a:xfrm>
            <a:off x="6288756" y="3279875"/>
            <a:ext cx="402475" cy="419630"/>
            <a:chOff x="6140368" y="3097011"/>
            <a:chExt cx="660145" cy="660145"/>
          </a:xfrm>
        </p:grpSpPr>
        <p:sp>
          <p:nvSpPr>
            <p:cNvPr id="13" name="Ellipse 12">
              <a:extLst>
                <a:ext uri="{FF2B5EF4-FFF2-40B4-BE49-F238E27FC236}">
                  <a16:creationId xmlns:a16="http://schemas.microsoft.com/office/drawing/2014/main" id="{7E522982-65EF-C731-7140-4381E6098A1A}"/>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descr="Inventar mit einfarbiger Füllung">
              <a:extLst>
                <a:ext uri="{FF2B5EF4-FFF2-40B4-BE49-F238E27FC236}">
                  <a16:creationId xmlns:a16="http://schemas.microsoft.com/office/drawing/2014/main" id="{59AE3831-E1E3-0365-1229-F985E4663F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41840" y="3198483"/>
              <a:ext cx="457200" cy="457200"/>
            </a:xfrm>
            <a:prstGeom prst="rect">
              <a:avLst/>
            </a:prstGeom>
          </p:spPr>
        </p:pic>
      </p:grpSp>
    </p:spTree>
    <p:extLst>
      <p:ext uri="{BB962C8B-B14F-4D97-AF65-F5344CB8AC3E}">
        <p14:creationId xmlns:p14="http://schemas.microsoft.com/office/powerpoint/2010/main" val="26851712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D1BE6370-CFFF-D880-CCD8-B4F2C51DAE83}"/>
              </a:ext>
            </a:extLst>
          </p:cNvPr>
          <p:cNvSpPr>
            <a:spLocks noGrp="1"/>
          </p:cNvSpPr>
          <p:nvPr>
            <p:ph type="sldNum" sz="quarter" idx="16"/>
          </p:nvPr>
        </p:nvSpPr>
        <p:spPr/>
        <p:txBody>
          <a:bodyPr/>
          <a:lstStyle/>
          <a:p>
            <a:fld id="{DF7F771E-9578-4C04-B869-01AF4C35C90C}" type="slidenum">
              <a:rPr lang="de-DE" smtClean="0"/>
              <a:t>44</a:t>
            </a:fld>
            <a:endParaRPr lang="de-DE"/>
          </a:p>
        </p:txBody>
      </p:sp>
      <p:sp>
        <p:nvSpPr>
          <p:cNvPr id="16" name="Untertitel 3">
            <a:extLst>
              <a:ext uri="{FF2B5EF4-FFF2-40B4-BE49-F238E27FC236}">
                <a16:creationId xmlns:a16="http://schemas.microsoft.com/office/drawing/2014/main" id="{712B8B34-8A5B-3A25-4191-977B9FCA0AA8}"/>
              </a:ext>
            </a:extLst>
          </p:cNvPr>
          <p:cNvSpPr txBox="1">
            <a:spLocks/>
          </p:cNvSpPr>
          <p:nvPr/>
        </p:nvSpPr>
        <p:spPr>
          <a:xfrm>
            <a:off x="2306972" y="5771757"/>
            <a:ext cx="4360474" cy="1179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b="1"/>
              <a:t>Parallel Connection</a:t>
            </a:r>
          </a:p>
          <a:p>
            <a:pPr marL="139700" indent="0"/>
            <a:r>
              <a:rPr lang="en-US"/>
              <a:t>Modern holiday lights often use parallel connections. In this setup, each bulb has its own direct path to the power source. So, if one bulb goes out, the rest keep shining brightly! This is because, in a parallel circuit, electricity has multiple paths to follow. Each bulb operates independently of the others.</a:t>
            </a:r>
          </a:p>
        </p:txBody>
      </p:sp>
      <p:sp>
        <p:nvSpPr>
          <p:cNvPr id="17" name="Untertitel 5">
            <a:extLst>
              <a:ext uri="{FF2B5EF4-FFF2-40B4-BE49-F238E27FC236}">
                <a16:creationId xmlns:a16="http://schemas.microsoft.com/office/drawing/2014/main" id="{EB1FC49E-3CD1-E75A-DFDA-2C30E58B8D1F}"/>
              </a:ext>
            </a:extLst>
          </p:cNvPr>
          <p:cNvSpPr txBox="1">
            <a:spLocks/>
          </p:cNvSpPr>
          <p:nvPr/>
        </p:nvSpPr>
        <p:spPr>
          <a:xfrm>
            <a:off x="727527" y="536030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err="1">
                <a:solidFill>
                  <a:schemeClr val="accent2"/>
                </a:solidFill>
              </a:rPr>
              <a:t>Example</a:t>
            </a:r>
            <a:endParaRPr lang="de-DE" sz="1200">
              <a:solidFill>
                <a:schemeClr val="accent2"/>
              </a:solidFill>
            </a:endParaRPr>
          </a:p>
        </p:txBody>
      </p:sp>
      <p:grpSp>
        <p:nvGrpSpPr>
          <p:cNvPr id="18" name="Gruppieren 17">
            <a:extLst>
              <a:ext uri="{FF2B5EF4-FFF2-40B4-BE49-F238E27FC236}">
                <a16:creationId xmlns:a16="http://schemas.microsoft.com/office/drawing/2014/main" id="{EE78A4BE-253E-7C27-CA8A-A881F9AB303D}"/>
              </a:ext>
            </a:extLst>
          </p:cNvPr>
          <p:cNvGrpSpPr/>
          <p:nvPr/>
        </p:nvGrpSpPr>
        <p:grpSpPr>
          <a:xfrm>
            <a:off x="909008" y="5905553"/>
            <a:ext cx="1314076" cy="1104568"/>
            <a:chOff x="0" y="0"/>
            <a:chExt cx="1045845" cy="1045845"/>
          </a:xfrm>
        </p:grpSpPr>
        <p:pic>
          <p:nvPicPr>
            <p:cNvPr id="19" name="Picture 3">
              <a:extLst>
                <a:ext uri="{FF2B5EF4-FFF2-40B4-BE49-F238E27FC236}">
                  <a16:creationId xmlns:a16="http://schemas.microsoft.com/office/drawing/2014/main" id="{31C9C731-FF7F-FD3F-FF08-3E2892BCA056}"/>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1045845" cy="1045845"/>
            </a:xfrm>
            <a:prstGeom prst="rect">
              <a:avLst/>
            </a:prstGeom>
            <a:noFill/>
            <a:ln>
              <a:noFill/>
            </a:ln>
          </p:spPr>
        </p:pic>
        <p:sp>
          <p:nvSpPr>
            <p:cNvPr id="20" name="Ellipse 19">
              <a:extLst>
                <a:ext uri="{FF2B5EF4-FFF2-40B4-BE49-F238E27FC236}">
                  <a16:creationId xmlns:a16="http://schemas.microsoft.com/office/drawing/2014/main" id="{FF6B842E-AF6D-FDC7-6799-2922BE394749}"/>
                </a:ext>
              </a:extLst>
            </p:cNvPr>
            <p:cNvSpPr/>
            <p:nvPr/>
          </p:nvSpPr>
          <p:spPr>
            <a:xfrm>
              <a:off x="51547" y="844923"/>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21" name="Ellipse 20">
              <a:extLst>
                <a:ext uri="{FF2B5EF4-FFF2-40B4-BE49-F238E27FC236}">
                  <a16:creationId xmlns:a16="http://schemas.microsoft.com/office/drawing/2014/main" id="{FF1F263C-4AD0-115C-CF1D-9767A5AC0A72}"/>
                </a:ext>
              </a:extLst>
            </p:cNvPr>
            <p:cNvSpPr/>
            <p:nvPr/>
          </p:nvSpPr>
          <p:spPr>
            <a:xfrm>
              <a:off x="221876" y="891988"/>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22" name="Ellipse 21">
              <a:extLst>
                <a:ext uri="{FF2B5EF4-FFF2-40B4-BE49-F238E27FC236}">
                  <a16:creationId xmlns:a16="http://schemas.microsoft.com/office/drawing/2014/main" id="{BD8E3FBB-D46E-94A2-B477-D75656EF65ED}"/>
                </a:ext>
              </a:extLst>
            </p:cNvPr>
            <p:cNvSpPr/>
            <p:nvPr/>
          </p:nvSpPr>
          <p:spPr>
            <a:xfrm>
              <a:off x="378759" y="905435"/>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23" name="Ellipse 22">
              <a:extLst>
                <a:ext uri="{FF2B5EF4-FFF2-40B4-BE49-F238E27FC236}">
                  <a16:creationId xmlns:a16="http://schemas.microsoft.com/office/drawing/2014/main" id="{6752068C-0FF8-8D9A-C6FD-FA068885724C}"/>
                </a:ext>
              </a:extLst>
            </p:cNvPr>
            <p:cNvSpPr/>
            <p:nvPr/>
          </p:nvSpPr>
          <p:spPr>
            <a:xfrm>
              <a:off x="544606" y="874059"/>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24" name="Ellipse 23">
              <a:extLst>
                <a:ext uri="{FF2B5EF4-FFF2-40B4-BE49-F238E27FC236}">
                  <a16:creationId xmlns:a16="http://schemas.microsoft.com/office/drawing/2014/main" id="{8B48CF55-B50C-0B34-A8DC-E65BCBA9B4F8}"/>
                </a:ext>
              </a:extLst>
            </p:cNvPr>
            <p:cNvSpPr/>
            <p:nvPr/>
          </p:nvSpPr>
          <p:spPr>
            <a:xfrm>
              <a:off x="692524" y="802341"/>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25" name="Ellipse 24">
              <a:extLst>
                <a:ext uri="{FF2B5EF4-FFF2-40B4-BE49-F238E27FC236}">
                  <a16:creationId xmlns:a16="http://schemas.microsoft.com/office/drawing/2014/main" id="{5D7BE8C0-1A8A-3D86-6C53-77100D7A124A}"/>
                </a:ext>
              </a:extLst>
            </p:cNvPr>
            <p:cNvSpPr/>
            <p:nvPr/>
          </p:nvSpPr>
          <p:spPr>
            <a:xfrm>
              <a:off x="905435" y="580465"/>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26" name="Ellipse 25">
              <a:extLst>
                <a:ext uri="{FF2B5EF4-FFF2-40B4-BE49-F238E27FC236}">
                  <a16:creationId xmlns:a16="http://schemas.microsoft.com/office/drawing/2014/main" id="{01F64043-DECA-3F47-C1B8-88D02D08F5B1}"/>
                </a:ext>
              </a:extLst>
            </p:cNvPr>
            <p:cNvSpPr/>
            <p:nvPr/>
          </p:nvSpPr>
          <p:spPr>
            <a:xfrm>
              <a:off x="741829" y="589429"/>
              <a:ext cx="85241" cy="92990"/>
            </a:xfrm>
            <a:prstGeom prst="ellipse">
              <a:avLst/>
            </a:prstGeom>
            <a:solidFill>
              <a:schemeClr val="tx1"/>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grpSp>
      <p:pic>
        <p:nvPicPr>
          <p:cNvPr id="2" name="Grafik 1">
            <a:extLst>
              <a:ext uri="{FF2B5EF4-FFF2-40B4-BE49-F238E27FC236}">
                <a16:creationId xmlns:a16="http://schemas.microsoft.com/office/drawing/2014/main" id="{23153D4D-6C87-C705-88BC-64F9FF392D3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31502" y="3265560"/>
            <a:ext cx="3879850" cy="2320290"/>
          </a:xfrm>
          <a:prstGeom prst="rect">
            <a:avLst/>
          </a:prstGeom>
          <a:noFill/>
        </p:spPr>
      </p:pic>
      <p:pic>
        <p:nvPicPr>
          <p:cNvPr id="3" name="Grafik 2" descr="Sonne mit einfarbiger Füllung">
            <a:extLst>
              <a:ext uri="{FF2B5EF4-FFF2-40B4-BE49-F238E27FC236}">
                <a16:creationId xmlns:a16="http://schemas.microsoft.com/office/drawing/2014/main" id="{53367F64-CB51-11F5-5B1A-E43CD5554D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95809" y="2398425"/>
            <a:ext cx="768055" cy="768055"/>
          </a:xfrm>
          <a:prstGeom prst="rect">
            <a:avLst/>
          </a:prstGeom>
        </p:spPr>
      </p:pic>
      <p:graphicFrame>
        <p:nvGraphicFramePr>
          <p:cNvPr id="11" name="Google Shape;630;p38">
            <a:extLst>
              <a:ext uri="{FF2B5EF4-FFF2-40B4-BE49-F238E27FC236}">
                <a16:creationId xmlns:a16="http://schemas.microsoft.com/office/drawing/2014/main" id="{000AAC00-457F-60D6-B984-C7A369ADBA30}"/>
              </a:ext>
            </a:extLst>
          </p:cNvPr>
          <p:cNvGraphicFramePr/>
          <p:nvPr>
            <p:extLst>
              <p:ext uri="{D42A27DB-BD31-4B8C-83A1-F6EECF244321}">
                <p14:modId xmlns:p14="http://schemas.microsoft.com/office/powerpoint/2010/main" val="910043700"/>
              </p:ext>
            </p:extLst>
          </p:nvPr>
        </p:nvGraphicFramePr>
        <p:xfrm>
          <a:off x="721681" y="1115809"/>
          <a:ext cx="5919009" cy="1035346"/>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Inclination Angle</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I</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157" b="0" i="0" u="none" strike="noStrike" cap="none" err="1">
                          <a:solidFill>
                            <a:srgbClr val="000000"/>
                          </a:solidFill>
                          <a:effectLst/>
                          <a:latin typeface="Arial"/>
                          <a:ea typeface="Sofia Sans"/>
                          <a:cs typeface="Arial"/>
                          <a:sym typeface="Sofia Sans"/>
                        </a:rPr>
                        <a:t>One</a:t>
                      </a:r>
                      <a:r>
                        <a:rPr lang="de-DE" sz="1157" b="0" i="0" u="none" strike="noStrike" cap="none">
                          <a:solidFill>
                            <a:srgbClr val="000000"/>
                          </a:solidFill>
                          <a:effectLst/>
                          <a:latin typeface="Arial"/>
                          <a:ea typeface="Sofia Sans"/>
                          <a:cs typeface="Arial"/>
                          <a:sym typeface="Sofia Sans"/>
                        </a:rPr>
                        <a:t> PV </a:t>
                      </a:r>
                      <a:r>
                        <a:rPr lang="de-DE" sz="1157" b="0" i="0" u="none" strike="noStrike" cap="none" err="1">
                          <a:solidFill>
                            <a:srgbClr val="000000"/>
                          </a:solidFill>
                          <a:effectLst/>
                          <a:latin typeface="Arial"/>
                          <a:ea typeface="Sofia Sans"/>
                          <a:cs typeface="Arial"/>
                          <a:sym typeface="Sofia Sans"/>
                        </a:rPr>
                        <a:t>panel</a:t>
                      </a:r>
                      <a:endParaRPr sz="1157" b="0"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en-US" sz="1157" b="0" i="0" u="none" strike="noStrike" cap="none">
                          <a:solidFill>
                            <a:srgbClr val="000000"/>
                          </a:solidFill>
                          <a:effectLst/>
                          <a:latin typeface="Arial"/>
                          <a:ea typeface="Arial"/>
                          <a:cs typeface="Arial"/>
                          <a:sym typeface="Arial"/>
                        </a:rPr>
                        <a:t>PV panels in parallel</a:t>
                      </a: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bl>
          </a:graphicData>
        </a:graphic>
      </p:graphicFrame>
      <p:sp>
        <p:nvSpPr>
          <p:cNvPr id="4" name="Untertitel 5">
            <a:extLst>
              <a:ext uri="{FF2B5EF4-FFF2-40B4-BE49-F238E27FC236}">
                <a16:creationId xmlns:a16="http://schemas.microsoft.com/office/drawing/2014/main" id="{123E7BBC-FA6D-40E3-4803-3626B4DF3DBF}"/>
              </a:ext>
            </a:extLst>
          </p:cNvPr>
          <p:cNvSpPr txBox="1">
            <a:spLocks/>
          </p:cNvSpPr>
          <p:nvPr/>
        </p:nvSpPr>
        <p:spPr>
          <a:xfrm>
            <a:off x="1162734" y="769991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5" name="Ellipse 4">
            <a:extLst>
              <a:ext uri="{FF2B5EF4-FFF2-40B4-BE49-F238E27FC236}">
                <a16:creationId xmlns:a16="http://schemas.microsoft.com/office/drawing/2014/main" id="{1907FF1E-FB7A-0959-66C3-18CD704FDA37}"/>
              </a:ext>
            </a:extLst>
          </p:cNvPr>
          <p:cNvSpPr>
            <a:spLocks noChangeAspect="1"/>
          </p:cNvSpPr>
          <p:nvPr/>
        </p:nvSpPr>
        <p:spPr>
          <a:xfrm>
            <a:off x="744093" y="7693978"/>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Skizze mit einfarbiger Füllung">
            <a:extLst>
              <a:ext uri="{FF2B5EF4-FFF2-40B4-BE49-F238E27FC236}">
                <a16:creationId xmlns:a16="http://schemas.microsoft.com/office/drawing/2014/main" id="{B95C39E5-F8B5-8ED0-194D-1468E244A6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8570" y="7757710"/>
            <a:ext cx="379044" cy="379044"/>
          </a:xfrm>
          <a:prstGeom prst="rect">
            <a:avLst/>
          </a:prstGeom>
        </p:spPr>
      </p:pic>
      <p:sp>
        <p:nvSpPr>
          <p:cNvPr id="7" name="Untertitel 3">
            <a:extLst>
              <a:ext uri="{FF2B5EF4-FFF2-40B4-BE49-F238E27FC236}">
                <a16:creationId xmlns:a16="http://schemas.microsoft.com/office/drawing/2014/main" id="{CBEB5E41-2981-0F1D-7F2D-7EEC2B4F2D69}"/>
              </a:ext>
            </a:extLst>
          </p:cNvPr>
          <p:cNvSpPr txBox="1">
            <a:spLocks/>
          </p:cNvSpPr>
          <p:nvPr/>
        </p:nvSpPr>
        <p:spPr>
          <a:xfrm>
            <a:off x="719138" y="8494831"/>
            <a:ext cx="5933121" cy="66075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When we say, “PVs are current sources”, we’re highlighting that PV systems primarily produce a steady flow of current, based on the available sunlight. Unlike a battery, which provides a fixed voltage, a PV system adjusts the amount of current it generates according to the intensity of the sunlight.</a:t>
            </a:r>
          </a:p>
        </p:txBody>
      </p:sp>
    </p:spTree>
    <p:extLst>
      <p:ext uri="{BB962C8B-B14F-4D97-AF65-F5344CB8AC3E}">
        <p14:creationId xmlns:p14="http://schemas.microsoft.com/office/powerpoint/2010/main" val="24517517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4496E541-6CB0-314A-A6F6-4DC98D114B72}"/>
              </a:ext>
            </a:extLst>
          </p:cNvPr>
          <p:cNvSpPr>
            <a:spLocks noGrp="1"/>
          </p:cNvSpPr>
          <p:nvPr>
            <p:ph type="sldNum" sz="quarter" idx="4"/>
          </p:nvPr>
        </p:nvSpPr>
        <p:spPr/>
        <p:txBody>
          <a:bodyPr/>
          <a:lstStyle/>
          <a:p>
            <a:fld id="{DF7F771E-9578-4C04-B869-01AF4C35C90C}" type="slidenum">
              <a:rPr lang="de-DE" smtClean="0"/>
              <a:t>45</a:t>
            </a:fld>
            <a:endParaRPr lang="de-DE"/>
          </a:p>
        </p:txBody>
      </p:sp>
      <p:sp>
        <p:nvSpPr>
          <p:cNvPr id="6" name="Untertitel 3">
            <a:extLst>
              <a:ext uri="{FF2B5EF4-FFF2-40B4-BE49-F238E27FC236}">
                <a16:creationId xmlns:a16="http://schemas.microsoft.com/office/drawing/2014/main" id="{6A687231-53B7-90BA-A10D-771AB28E2299}"/>
              </a:ext>
            </a:extLst>
          </p:cNvPr>
          <p:cNvSpPr txBox="1">
            <a:spLocks/>
          </p:cNvSpPr>
          <p:nvPr/>
        </p:nvSpPr>
        <p:spPr>
          <a:xfrm>
            <a:off x="1661020" y="1576271"/>
            <a:ext cx="5008016" cy="41365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What happens with the current on a sunny day?</a:t>
            </a:r>
          </a:p>
        </p:txBody>
      </p:sp>
      <p:sp>
        <p:nvSpPr>
          <p:cNvPr id="10" name="Untertitel 5">
            <a:extLst>
              <a:ext uri="{FF2B5EF4-FFF2-40B4-BE49-F238E27FC236}">
                <a16:creationId xmlns:a16="http://schemas.microsoft.com/office/drawing/2014/main" id="{1A1BCF91-506B-D44E-AB76-C08A9C797F5C}"/>
              </a:ext>
            </a:extLst>
          </p:cNvPr>
          <p:cNvSpPr txBox="1">
            <a:spLocks/>
          </p:cNvSpPr>
          <p:nvPr/>
        </p:nvSpPr>
        <p:spPr>
          <a:xfrm>
            <a:off x="729117" y="116481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1</a:t>
            </a:r>
          </a:p>
        </p:txBody>
      </p:sp>
      <p:sp>
        <p:nvSpPr>
          <p:cNvPr id="12" name="Textfeld 11">
            <a:extLst>
              <a:ext uri="{FF2B5EF4-FFF2-40B4-BE49-F238E27FC236}">
                <a16:creationId xmlns:a16="http://schemas.microsoft.com/office/drawing/2014/main" id="{A4CD8244-F41C-C3A7-C9FA-2A329E430963}"/>
              </a:ext>
            </a:extLst>
          </p:cNvPr>
          <p:cNvSpPr txBox="1"/>
          <p:nvPr/>
        </p:nvSpPr>
        <p:spPr>
          <a:xfrm>
            <a:off x="1893597" y="1989922"/>
            <a:ext cx="4926654" cy="569913"/>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en-US" sz="1200">
                <a:effectLst/>
                <a:latin typeface="Times New Roman" panose="02020603050405020304" pitchFamily="18" charset="0"/>
                <a:ea typeface="Times New Roman" panose="02020603050405020304" pitchFamily="18" charset="0"/>
              </a:rPr>
              <a:t> </a:t>
            </a:r>
            <a:r>
              <a:rPr lang="en-US" sz="1000">
                <a:solidFill>
                  <a:srgbClr val="FF0000"/>
                </a:solidFill>
                <a:latin typeface="Sofia Sans"/>
              </a:rPr>
              <a:t>Lots of sunlight means lots of free electrons, resulting in a strong current.</a:t>
            </a:r>
            <a:endParaRPr lang="de-DE" sz="1000">
              <a:solidFill>
                <a:srgbClr val="FF0000"/>
              </a:solidFill>
              <a:latin typeface="Sofia Sans"/>
            </a:endParaRPr>
          </a:p>
          <a:p>
            <a:endParaRPr lang="de-DE" sz="1200">
              <a:effectLst/>
              <a:latin typeface="Times New Roman" panose="02020603050405020304" pitchFamily="18" charset="0"/>
              <a:ea typeface="Times New Roman" panose="02020603050405020304" pitchFamily="18" charset="0"/>
            </a:endParaRPr>
          </a:p>
        </p:txBody>
      </p:sp>
      <p:sp>
        <p:nvSpPr>
          <p:cNvPr id="13" name="Untertitel 3">
            <a:extLst>
              <a:ext uri="{FF2B5EF4-FFF2-40B4-BE49-F238E27FC236}">
                <a16:creationId xmlns:a16="http://schemas.microsoft.com/office/drawing/2014/main" id="{6952DF03-AE09-903F-450B-D678FFD23616}"/>
              </a:ext>
            </a:extLst>
          </p:cNvPr>
          <p:cNvSpPr txBox="1">
            <a:spLocks/>
          </p:cNvSpPr>
          <p:nvPr/>
        </p:nvSpPr>
        <p:spPr>
          <a:xfrm>
            <a:off x="1661020" y="2666098"/>
            <a:ext cx="5008016" cy="41365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What happens with the current on a cloudy day?</a:t>
            </a:r>
          </a:p>
        </p:txBody>
      </p:sp>
      <p:sp>
        <p:nvSpPr>
          <p:cNvPr id="14" name="Textfeld 13">
            <a:extLst>
              <a:ext uri="{FF2B5EF4-FFF2-40B4-BE49-F238E27FC236}">
                <a16:creationId xmlns:a16="http://schemas.microsoft.com/office/drawing/2014/main" id="{6124C3F7-8E9E-16FE-3AE3-924E5B929B69}"/>
              </a:ext>
            </a:extLst>
          </p:cNvPr>
          <p:cNvSpPr txBox="1"/>
          <p:nvPr/>
        </p:nvSpPr>
        <p:spPr>
          <a:xfrm>
            <a:off x="1893597" y="3079749"/>
            <a:ext cx="4926654" cy="569913"/>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en-US" sz="1000">
                <a:solidFill>
                  <a:srgbClr val="FF0000"/>
                </a:solidFill>
                <a:latin typeface="Sofia Sans"/>
              </a:rPr>
              <a:t> Less sunlight means fewer free electrons, resulting in a weaker current</a:t>
            </a:r>
            <a:endParaRPr lang="de-DE" sz="1000">
              <a:solidFill>
                <a:srgbClr val="FF0000"/>
              </a:solidFill>
              <a:latin typeface="Sofia Sans"/>
            </a:endParaRPr>
          </a:p>
          <a:p>
            <a:endParaRPr lang="de-DE" sz="1200">
              <a:effectLst/>
              <a:latin typeface="Times New Roman" panose="02020603050405020304" pitchFamily="18" charset="0"/>
              <a:ea typeface="Times New Roman" panose="02020603050405020304" pitchFamily="18" charset="0"/>
            </a:endParaRPr>
          </a:p>
        </p:txBody>
      </p:sp>
      <p:pic>
        <p:nvPicPr>
          <p:cNvPr id="18" name="Grafik 17" descr="Cloud mit einfarbiger Füllung">
            <a:extLst>
              <a:ext uri="{FF2B5EF4-FFF2-40B4-BE49-F238E27FC236}">
                <a16:creationId xmlns:a16="http://schemas.microsoft.com/office/drawing/2014/main" id="{08712879-859B-CF2F-DABF-4D024F3D73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8092" y="2811485"/>
            <a:ext cx="682928" cy="682928"/>
          </a:xfrm>
          <a:prstGeom prst="rect">
            <a:avLst/>
          </a:prstGeom>
        </p:spPr>
      </p:pic>
      <p:pic>
        <p:nvPicPr>
          <p:cNvPr id="20" name="Grafik 19" descr="dunkel (mittlere Sonne) mit einfarbiger Füllung">
            <a:extLst>
              <a:ext uri="{FF2B5EF4-FFF2-40B4-BE49-F238E27FC236}">
                <a16:creationId xmlns:a16="http://schemas.microsoft.com/office/drawing/2014/main" id="{02F4D6BA-2167-722F-3BEB-EDB88D3682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2909" y="1667577"/>
            <a:ext cx="914400" cy="914400"/>
          </a:xfrm>
          <a:prstGeom prst="rect">
            <a:avLst/>
          </a:prstGeom>
        </p:spPr>
      </p:pic>
      <p:sp>
        <p:nvSpPr>
          <p:cNvPr id="21" name="Untertitel 5">
            <a:extLst>
              <a:ext uri="{FF2B5EF4-FFF2-40B4-BE49-F238E27FC236}">
                <a16:creationId xmlns:a16="http://schemas.microsoft.com/office/drawing/2014/main" id="{D6565AB1-E282-9732-E87D-E1568C39434A}"/>
              </a:ext>
            </a:extLst>
          </p:cNvPr>
          <p:cNvSpPr txBox="1">
            <a:spLocks/>
          </p:cNvSpPr>
          <p:nvPr/>
        </p:nvSpPr>
        <p:spPr>
          <a:xfrm>
            <a:off x="715802" y="403614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err="1">
                <a:solidFill>
                  <a:schemeClr val="accent2"/>
                </a:solidFill>
              </a:rPr>
              <a:t>Why</a:t>
            </a:r>
            <a:r>
              <a:rPr lang="de-DE" sz="1200">
                <a:solidFill>
                  <a:schemeClr val="accent2"/>
                </a:solidFill>
              </a:rPr>
              <a:t> </a:t>
            </a:r>
            <a:r>
              <a:rPr lang="de-DE" sz="1200" err="1">
                <a:solidFill>
                  <a:schemeClr val="accent2"/>
                </a:solidFill>
              </a:rPr>
              <a:t>does</a:t>
            </a:r>
            <a:r>
              <a:rPr lang="de-DE" sz="1200">
                <a:solidFill>
                  <a:schemeClr val="accent2"/>
                </a:solidFill>
              </a:rPr>
              <a:t> </a:t>
            </a:r>
            <a:r>
              <a:rPr lang="de-DE" sz="1200" err="1">
                <a:solidFill>
                  <a:schemeClr val="accent2"/>
                </a:solidFill>
              </a:rPr>
              <a:t>this</a:t>
            </a:r>
            <a:r>
              <a:rPr lang="de-DE" sz="1200">
                <a:solidFill>
                  <a:schemeClr val="accent2"/>
                </a:solidFill>
              </a:rPr>
              <a:t> matter?</a:t>
            </a:r>
          </a:p>
        </p:txBody>
      </p:sp>
      <p:sp>
        <p:nvSpPr>
          <p:cNvPr id="22" name="Untertitel 3">
            <a:extLst>
              <a:ext uri="{FF2B5EF4-FFF2-40B4-BE49-F238E27FC236}">
                <a16:creationId xmlns:a16="http://schemas.microsoft.com/office/drawing/2014/main" id="{EF0E4250-CFC2-AA1C-EF18-615B225E543B}"/>
              </a:ext>
            </a:extLst>
          </p:cNvPr>
          <p:cNvSpPr txBox="1">
            <a:spLocks/>
          </p:cNvSpPr>
          <p:nvPr/>
        </p:nvSpPr>
        <p:spPr>
          <a:xfrm>
            <a:off x="715802" y="4412628"/>
            <a:ext cx="5933121" cy="11198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Understanding that PVs are current sources helps us design better solar power systems. Therefore, when we connect multiple solar panels, we can choose between series or parallel connections to optimize the system’s performance based on how much current or voltage we need.</a:t>
            </a:r>
          </a:p>
        </p:txBody>
      </p:sp>
      <p:sp>
        <p:nvSpPr>
          <p:cNvPr id="23" name="Untertitel 3">
            <a:extLst>
              <a:ext uri="{FF2B5EF4-FFF2-40B4-BE49-F238E27FC236}">
                <a16:creationId xmlns:a16="http://schemas.microsoft.com/office/drawing/2014/main" id="{267EF974-5D91-1C8C-BA00-F24D511E2D62}"/>
              </a:ext>
            </a:extLst>
          </p:cNvPr>
          <p:cNvSpPr txBox="1">
            <a:spLocks/>
          </p:cNvSpPr>
          <p:nvPr/>
        </p:nvSpPr>
        <p:spPr>
          <a:xfrm>
            <a:off x="715802" y="5961422"/>
            <a:ext cx="5933121" cy="66075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What are the PROS and CONS of parallel connection?</a:t>
            </a:r>
          </a:p>
        </p:txBody>
      </p:sp>
      <p:sp>
        <p:nvSpPr>
          <p:cNvPr id="24" name="Untertitel 5">
            <a:extLst>
              <a:ext uri="{FF2B5EF4-FFF2-40B4-BE49-F238E27FC236}">
                <a16:creationId xmlns:a16="http://schemas.microsoft.com/office/drawing/2014/main" id="{E3FDF542-E409-48A7-E77C-922CC8ABEEA2}"/>
              </a:ext>
            </a:extLst>
          </p:cNvPr>
          <p:cNvSpPr txBox="1">
            <a:spLocks/>
          </p:cNvSpPr>
          <p:nvPr/>
        </p:nvSpPr>
        <p:spPr>
          <a:xfrm>
            <a:off x="709004" y="554996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2</a:t>
            </a:r>
          </a:p>
        </p:txBody>
      </p:sp>
      <p:graphicFrame>
        <p:nvGraphicFramePr>
          <p:cNvPr id="2" name="Google Shape;630;p38">
            <a:extLst>
              <a:ext uri="{FF2B5EF4-FFF2-40B4-BE49-F238E27FC236}">
                <a16:creationId xmlns:a16="http://schemas.microsoft.com/office/drawing/2014/main" id="{C7759474-CD8A-53F3-88CE-183FB5E6F0A1}"/>
              </a:ext>
            </a:extLst>
          </p:cNvPr>
          <p:cNvGraphicFramePr/>
          <p:nvPr>
            <p:extLst>
              <p:ext uri="{D42A27DB-BD31-4B8C-83A1-F6EECF244321}">
                <p14:modId xmlns:p14="http://schemas.microsoft.com/office/powerpoint/2010/main" val="2525084606"/>
              </p:ext>
            </p:extLst>
          </p:nvPr>
        </p:nvGraphicFramePr>
        <p:xfrm>
          <a:off x="1129269" y="6733858"/>
          <a:ext cx="5301136" cy="2522891"/>
        </p:xfrm>
        <a:graphic>
          <a:graphicData uri="http://schemas.openxmlformats.org/drawingml/2006/table">
            <a:tbl>
              <a:tblPr>
                <a:noFill/>
                <a:tableStyleId>{F0CFADBD-3245-443C-9B6D-9ACBA4CA32A5}</a:tableStyleId>
              </a:tblPr>
              <a:tblGrid>
                <a:gridCol w="2650568">
                  <a:extLst>
                    <a:ext uri="{9D8B030D-6E8A-4147-A177-3AD203B41FA5}">
                      <a16:colId xmlns:a16="http://schemas.microsoft.com/office/drawing/2014/main" val="20001"/>
                    </a:ext>
                  </a:extLst>
                </a:gridCol>
                <a:gridCol w="2650568">
                  <a:extLst>
                    <a:ext uri="{9D8B030D-6E8A-4147-A177-3AD203B41FA5}">
                      <a16:colId xmlns:a16="http://schemas.microsoft.com/office/drawing/2014/main" val="20002"/>
                    </a:ext>
                  </a:extLst>
                </a:gridCol>
              </a:tblGrid>
              <a:tr h="425486">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PRO</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CON</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solid"/>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0"/>
                  </a:ext>
                </a:extLst>
              </a:tr>
              <a:tr h="1516103">
                <a:tc>
                  <a:txBody>
                    <a:bodyPr/>
                    <a:lstStyle/>
                    <a:p>
                      <a:pPr marL="0" lvl="0" indent="0" algn="l" rtl="0">
                        <a:lnSpc>
                          <a:spcPct val="115000"/>
                        </a:lnSpc>
                        <a:spcBef>
                          <a:spcPts val="0"/>
                        </a:spcBef>
                        <a:spcAft>
                          <a:spcPts val="0"/>
                        </a:spcAft>
                        <a:buNone/>
                      </a:pPr>
                      <a:r>
                        <a:rPr lang="en-US" sz="1000">
                          <a:solidFill>
                            <a:srgbClr val="FF0000"/>
                          </a:solidFill>
                          <a:latin typeface="Sofia Sans"/>
                          <a:ea typeface="Sofia Sans"/>
                          <a:cs typeface="Sofia Sans"/>
                          <a:sym typeface="Sofia Sans"/>
                        </a:rPr>
                        <a:t>1. Independent Operation: If one PV module is shaded or fails, the others continue to produce electricity at full capacity. This ensures a more reliable energy supply.</a:t>
                      </a:r>
                    </a:p>
                    <a:p>
                      <a:pPr marL="0" lvl="0" indent="0" algn="l" rtl="0">
                        <a:lnSpc>
                          <a:spcPct val="115000"/>
                        </a:lnSpc>
                        <a:spcBef>
                          <a:spcPts val="0"/>
                        </a:spcBef>
                        <a:spcAft>
                          <a:spcPts val="0"/>
                        </a:spcAft>
                        <a:buNone/>
                      </a:pPr>
                      <a:r>
                        <a:rPr lang="en-US" sz="1000">
                          <a:solidFill>
                            <a:srgbClr val="FF0000"/>
                          </a:solidFill>
                          <a:latin typeface="Sofia Sans"/>
                          <a:ea typeface="Sofia Sans"/>
                          <a:cs typeface="Sofia Sans"/>
                          <a:sym typeface="Sofia Sans"/>
                        </a:rPr>
                        <a:t>2. Increased Current: The current (amperes) from each module adds up, providing a higher total current, which is beneficial for applications that require more current.</a:t>
                      </a:r>
                    </a:p>
                    <a:p>
                      <a:pPr marL="0" lvl="0" indent="0" algn="l" rtl="0">
                        <a:lnSpc>
                          <a:spcPct val="115000"/>
                        </a:lnSpc>
                        <a:spcBef>
                          <a:spcPts val="0"/>
                        </a:spcBef>
                        <a:spcAft>
                          <a:spcPts val="0"/>
                        </a:spcAft>
                        <a:buNone/>
                      </a:pPr>
                      <a:r>
                        <a:rPr lang="en-US" sz="1000">
                          <a:solidFill>
                            <a:srgbClr val="FF0000"/>
                          </a:solidFill>
                          <a:latin typeface="Sofia Sans"/>
                          <a:ea typeface="Sofia Sans"/>
                          <a:cs typeface="Sofia Sans"/>
                          <a:sym typeface="Sofia Sans"/>
                        </a:rPr>
                        <a:t>3. Easier Maintenance: Since each module operates independently, identifying and fixing problems is simpler. If one module fails, it doesn't impact the others.</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marR="0" lvl="0" indent="0" algn="l" rtl="0">
                        <a:lnSpc>
                          <a:spcPct val="115000"/>
                        </a:lnSpc>
                        <a:spcBef>
                          <a:spcPts val="0"/>
                        </a:spcBef>
                        <a:spcAft>
                          <a:spcPts val="0"/>
                        </a:spcAft>
                        <a:buClr>
                          <a:srgbClr val="000000"/>
                        </a:buClr>
                        <a:buFont typeface="Arial"/>
                        <a:buNone/>
                      </a:pPr>
                      <a:r>
                        <a:rPr lang="en-US" sz="1000" b="0" i="0" u="none" strike="noStrike" cap="none">
                          <a:solidFill>
                            <a:srgbClr val="FF0000"/>
                          </a:solidFill>
                          <a:latin typeface="Sofia Sans"/>
                          <a:ea typeface="Times New Roman" panose="02020603050405020304" pitchFamily="18" charset="0"/>
                          <a:sym typeface="Arial"/>
                        </a:rPr>
                        <a:t>1. Same Voltage: The voltage remains the same as a single module, which might not be sufficient for systems that require higher voltage levels.</a:t>
                      </a:r>
                      <a:endParaRPr lang="de-DE" sz="1000" b="0" i="0" u="none" strike="noStrike" cap="none">
                        <a:solidFill>
                          <a:srgbClr val="FF0000"/>
                        </a:solidFill>
                        <a:latin typeface="Sofia Sans"/>
                        <a:ea typeface="Times New Roman" panose="02020603050405020304" pitchFamily="18" charset="0"/>
                        <a:sym typeface="Arial"/>
                      </a:endParaRPr>
                    </a:p>
                    <a:p>
                      <a:pPr marL="0" marR="0" lvl="0" indent="0" algn="l" rtl="0">
                        <a:lnSpc>
                          <a:spcPct val="115000"/>
                        </a:lnSpc>
                        <a:spcBef>
                          <a:spcPts val="0"/>
                        </a:spcBef>
                        <a:spcAft>
                          <a:spcPts val="0"/>
                        </a:spcAft>
                        <a:buClr>
                          <a:srgbClr val="000000"/>
                        </a:buClr>
                        <a:buFont typeface="Arial"/>
                        <a:buNone/>
                      </a:pPr>
                      <a:r>
                        <a:rPr lang="en-US" sz="1000" b="0" i="0" u="none" strike="noStrike" cap="none">
                          <a:solidFill>
                            <a:srgbClr val="FF0000"/>
                          </a:solidFill>
                          <a:latin typeface="Sofia Sans"/>
                          <a:ea typeface="Times New Roman" panose="02020603050405020304" pitchFamily="18" charset="0"/>
                          <a:sym typeface="Arial"/>
                        </a:rPr>
                        <a:t>2. More Wiring: Parallel connections often require more wiring and connectors, which can increase installation complexity and costs.</a:t>
                      </a:r>
                      <a:endParaRPr lang="de-DE" sz="1000" b="0" i="0" u="none" strike="noStrike" cap="none">
                        <a:solidFill>
                          <a:srgbClr val="FF0000"/>
                        </a:solidFill>
                        <a:latin typeface="Sofia Sans"/>
                        <a:ea typeface="Times New Roman" panose="02020603050405020304" pitchFamily="18" charset="0"/>
                        <a:sym typeface="Arial"/>
                      </a:endParaRPr>
                    </a:p>
                    <a:p>
                      <a:pPr marL="0" marR="0" lvl="0" indent="0" algn="l" rtl="0">
                        <a:lnSpc>
                          <a:spcPct val="115000"/>
                        </a:lnSpc>
                        <a:spcBef>
                          <a:spcPts val="0"/>
                        </a:spcBef>
                        <a:spcAft>
                          <a:spcPts val="0"/>
                        </a:spcAft>
                        <a:buClr>
                          <a:srgbClr val="000000"/>
                        </a:buClr>
                        <a:buFont typeface="Arial"/>
                        <a:buNone/>
                      </a:pPr>
                      <a:r>
                        <a:rPr lang="en-US" sz="1000" b="0" i="0" u="none" strike="noStrike" cap="none">
                          <a:solidFill>
                            <a:srgbClr val="FF0000"/>
                          </a:solidFill>
                          <a:latin typeface="Sofia Sans"/>
                          <a:ea typeface="Times New Roman" panose="02020603050405020304" pitchFamily="18" charset="0"/>
                          <a:sym typeface="Arial"/>
                        </a:rPr>
                        <a:t>3. Potential Imbalance: If the modules are not identical or if they age differently, there can be an imbalance in current, which can affect the performance and lifespan of the</a:t>
                      </a:r>
                      <a:endParaRPr lang="de-DE" sz="1000" b="0" i="0" u="none" strike="noStrike" cap="none">
                        <a:solidFill>
                          <a:srgbClr val="FF0000"/>
                        </a:solidFill>
                        <a:latin typeface="Sofia Sans"/>
                        <a:ea typeface="Times New Roman" panose="02020603050405020304" pitchFamily="18" charset="0"/>
                        <a:sym typeface="Arial"/>
                      </a:endParaRPr>
                    </a:p>
                  </a:txBody>
                  <a:tcPr marL="68580" marR="68580" marT="0" marB="0">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181099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F664B557-6C5C-4AC8-6343-A8ABCA6D9F81}"/>
              </a:ext>
            </a:extLst>
          </p:cNvPr>
          <p:cNvSpPr>
            <a:spLocks noGrp="1"/>
          </p:cNvSpPr>
          <p:nvPr>
            <p:ph type="sldNum" sz="quarter" idx="16"/>
          </p:nvPr>
        </p:nvSpPr>
        <p:spPr/>
        <p:txBody>
          <a:bodyPr/>
          <a:lstStyle/>
          <a:p>
            <a:fld id="{DF7F771E-9578-4C04-B869-01AF4C35C90C}" type="slidenum">
              <a:rPr lang="de-DE" smtClean="0"/>
              <a:t>46</a:t>
            </a:fld>
            <a:endParaRPr lang="de-DE"/>
          </a:p>
        </p:txBody>
      </p:sp>
      <p:sp>
        <p:nvSpPr>
          <p:cNvPr id="17" name="Rechteck 16">
            <a:extLst>
              <a:ext uri="{FF2B5EF4-FFF2-40B4-BE49-F238E27FC236}">
                <a16:creationId xmlns:a16="http://schemas.microsoft.com/office/drawing/2014/main" id="{0A09D55E-5C88-C365-76CA-BF23FFAE7801}"/>
              </a:ext>
            </a:extLst>
          </p:cNvPr>
          <p:cNvSpPr/>
          <p:nvPr/>
        </p:nvSpPr>
        <p:spPr>
          <a:xfrm>
            <a:off x="719138" y="1173686"/>
            <a:ext cx="5740172" cy="4197505"/>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1941AB94-E3BF-3840-8E0B-644B6ADA1160}"/>
              </a:ext>
            </a:extLst>
          </p:cNvPr>
          <p:cNvSpPr>
            <a:spLocks noChangeAspect="1"/>
          </p:cNvSpPr>
          <p:nvPr/>
        </p:nvSpPr>
        <p:spPr>
          <a:xfrm>
            <a:off x="6128978" y="854977"/>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descr="Lesezeichen mit einfarbiger Füllung">
            <a:extLst>
              <a:ext uri="{FF2B5EF4-FFF2-40B4-BE49-F238E27FC236}">
                <a16:creationId xmlns:a16="http://schemas.microsoft.com/office/drawing/2014/main" id="{FFA5A65A-335D-7EE8-CEF4-11E94028FEE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982824"/>
            <a:ext cx="404450" cy="404450"/>
          </a:xfrm>
          <a:prstGeom prst="rect">
            <a:avLst/>
          </a:prstGeom>
        </p:spPr>
      </p:pic>
      <p:sp>
        <p:nvSpPr>
          <p:cNvPr id="20" name="Untertitel 5">
            <a:extLst>
              <a:ext uri="{FF2B5EF4-FFF2-40B4-BE49-F238E27FC236}">
                <a16:creationId xmlns:a16="http://schemas.microsoft.com/office/drawing/2014/main" id="{C2B65724-DEEF-C589-C76C-E2583D30B57E}"/>
              </a:ext>
            </a:extLst>
          </p:cNvPr>
          <p:cNvSpPr txBox="1">
            <a:spLocks/>
          </p:cNvSpPr>
          <p:nvPr/>
        </p:nvSpPr>
        <p:spPr>
          <a:xfrm>
            <a:off x="894164" y="1273312"/>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21" name="Untertitel 2">
            <a:extLst>
              <a:ext uri="{FF2B5EF4-FFF2-40B4-BE49-F238E27FC236}">
                <a16:creationId xmlns:a16="http://schemas.microsoft.com/office/drawing/2014/main" id="{43952EC9-DA07-EE2D-C12B-8B29A9BEFC4E}"/>
              </a:ext>
            </a:extLst>
          </p:cNvPr>
          <p:cNvSpPr txBox="1">
            <a:spLocks/>
          </p:cNvSpPr>
          <p:nvPr/>
        </p:nvSpPr>
        <p:spPr>
          <a:xfrm>
            <a:off x="1103983" y="1766740"/>
            <a:ext cx="4979684" cy="262580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When PV panels are connected in parallel, the output voltage remains the same as that of a single panel. The total current is the sum of the individual currents of each panel, resulting in a higher overall current.</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onnecting PV panels in parallel allows for independent operation; if one module fails or is shaded, the others continue to function unaffected, also increasing the total current output, beneficial for high-current application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Since each module operates independently, troubleshooting and repairs are more straightforward, minimizing the impact of one module’s failure on the overall system.</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While parallel connections maintain the same voltage as a single module, potentially unsuitable for high-voltage requirements, they require more wiring, increasing installation complexity and costs. Additionally, imbalances due to non-identical modules or differential aging can affect system performance and longevity.</a:t>
            </a:r>
          </a:p>
        </p:txBody>
      </p:sp>
    </p:spTree>
    <p:extLst>
      <p:ext uri="{BB962C8B-B14F-4D97-AF65-F5344CB8AC3E}">
        <p14:creationId xmlns:p14="http://schemas.microsoft.com/office/powerpoint/2010/main" val="160496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DDDAA96D-D947-CFBF-D2AF-44017B789622}"/>
              </a:ext>
            </a:extLst>
          </p:cNvPr>
          <p:cNvSpPr>
            <a:spLocks noGrp="1"/>
          </p:cNvSpPr>
          <p:nvPr>
            <p:ph type="sldNum" sz="quarter" idx="16"/>
          </p:nvPr>
        </p:nvSpPr>
        <p:spPr/>
        <p:txBody>
          <a:bodyPr/>
          <a:lstStyle/>
          <a:p>
            <a:fld id="{DF7F771E-9578-4C04-B869-01AF4C35C90C}" type="slidenum">
              <a:rPr lang="de-DE" smtClean="0"/>
              <a:t>47</a:t>
            </a:fld>
            <a:endParaRPr lang="de-DE"/>
          </a:p>
        </p:txBody>
      </p:sp>
      <p:sp>
        <p:nvSpPr>
          <p:cNvPr id="16" name="Titel 1">
            <a:extLst>
              <a:ext uri="{FF2B5EF4-FFF2-40B4-BE49-F238E27FC236}">
                <a16:creationId xmlns:a16="http://schemas.microsoft.com/office/drawing/2014/main" id="{5DE4A91D-7C77-FCD5-6A3E-ACD857A0C23A}"/>
              </a:ext>
            </a:extLst>
          </p:cNvPr>
          <p:cNvSpPr>
            <a:spLocks noGrp="1"/>
          </p:cNvSpPr>
          <p:nvPr>
            <p:ph type="title"/>
          </p:nvPr>
        </p:nvSpPr>
        <p:spPr>
          <a:xfrm>
            <a:off x="589649" y="1121461"/>
            <a:ext cx="6380336" cy="636036"/>
          </a:xfrm>
        </p:spPr>
        <p:txBody>
          <a:bodyPr/>
          <a:lstStyle/>
          <a:p>
            <a:r>
              <a:rPr lang="de-DE"/>
              <a:t>3. Fixed Load (</a:t>
            </a:r>
            <a:r>
              <a:rPr lang="de-DE" err="1"/>
              <a:t>Resistor</a:t>
            </a:r>
            <a:r>
              <a:rPr lang="de-DE"/>
              <a:t>)</a:t>
            </a:r>
          </a:p>
        </p:txBody>
      </p:sp>
      <p:sp>
        <p:nvSpPr>
          <p:cNvPr id="17" name="Untertitel 3">
            <a:extLst>
              <a:ext uri="{FF2B5EF4-FFF2-40B4-BE49-F238E27FC236}">
                <a16:creationId xmlns:a16="http://schemas.microsoft.com/office/drawing/2014/main" id="{444249A9-EC20-8BFF-95D8-03B3EF4F0797}"/>
              </a:ext>
            </a:extLst>
          </p:cNvPr>
          <p:cNvSpPr txBox="1">
            <a:spLocks/>
          </p:cNvSpPr>
          <p:nvPr/>
        </p:nvSpPr>
        <p:spPr>
          <a:xfrm>
            <a:off x="719138" y="1944537"/>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In this chapter, you will understand how a resistor works.</a:t>
            </a:r>
            <a:endParaRPr lang="de-DE"/>
          </a:p>
        </p:txBody>
      </p:sp>
      <p:sp>
        <p:nvSpPr>
          <p:cNvPr id="18" name="Untertitel 3">
            <a:extLst>
              <a:ext uri="{FF2B5EF4-FFF2-40B4-BE49-F238E27FC236}">
                <a16:creationId xmlns:a16="http://schemas.microsoft.com/office/drawing/2014/main" id="{2E4DF6A5-2EDD-2F4C-AB43-4D724D84B668}"/>
              </a:ext>
            </a:extLst>
          </p:cNvPr>
          <p:cNvSpPr txBox="1">
            <a:spLocks/>
          </p:cNvSpPr>
          <p:nvPr/>
        </p:nvSpPr>
        <p:spPr>
          <a:xfrm>
            <a:off x="744639" y="5840986"/>
            <a:ext cx="5919009" cy="158443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Follow these steps to conduct the experiment:</a:t>
            </a:r>
          </a:p>
          <a:p>
            <a:pPr>
              <a:buFont typeface="+mj-lt"/>
              <a:buAutoNum type="arabicPeriod"/>
            </a:pPr>
            <a:r>
              <a:rPr lang="en-US"/>
              <a:t>First, measure the open-circuit voltage (</a:t>
            </a:r>
            <a:r>
              <a:rPr lang="en-US" err="1"/>
              <a:t>Voc</a:t>
            </a:r>
            <a:r>
              <a:rPr lang="en-US"/>
              <a:t>) and the short-circuit current (</a:t>
            </a:r>
            <a:r>
              <a:rPr lang="en-US" err="1"/>
              <a:t>Isc</a:t>
            </a:r>
            <a:r>
              <a:rPr lang="en-US"/>
              <a:t>) again.</a:t>
            </a:r>
          </a:p>
          <a:p>
            <a:pPr>
              <a:buFont typeface="+mj-lt"/>
              <a:buAutoNum type="arabicPeriod"/>
            </a:pPr>
            <a:r>
              <a:rPr lang="en-US"/>
              <a:t>Connect the Resistor to the positive and negative terminals of the PV module.</a:t>
            </a:r>
          </a:p>
          <a:p>
            <a:pPr>
              <a:buFont typeface="+mj-lt"/>
              <a:buAutoNum type="arabicPeriod"/>
            </a:pPr>
            <a:r>
              <a:rPr lang="en-US"/>
              <a:t>Now connect the Multimeter leads across the resistor to measure the voltage and the current again</a:t>
            </a:r>
          </a:p>
          <a:p>
            <a:endParaRPr lang="en-US"/>
          </a:p>
          <a:p>
            <a:pPr>
              <a:buFont typeface="+mj-lt"/>
              <a:buAutoNum type="arabicPeriod"/>
            </a:pPr>
            <a:endParaRPr lang="en-US"/>
          </a:p>
        </p:txBody>
      </p:sp>
      <p:sp>
        <p:nvSpPr>
          <p:cNvPr id="19" name="Untertitel 5">
            <a:extLst>
              <a:ext uri="{FF2B5EF4-FFF2-40B4-BE49-F238E27FC236}">
                <a16:creationId xmlns:a16="http://schemas.microsoft.com/office/drawing/2014/main" id="{37EC3DBA-46AF-6392-D7F3-A297889D3CA5}"/>
              </a:ext>
            </a:extLst>
          </p:cNvPr>
          <p:cNvSpPr txBox="1">
            <a:spLocks/>
          </p:cNvSpPr>
          <p:nvPr/>
        </p:nvSpPr>
        <p:spPr>
          <a:xfrm>
            <a:off x="1118804" y="530530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20" name="Ellipse 19">
            <a:extLst>
              <a:ext uri="{FF2B5EF4-FFF2-40B4-BE49-F238E27FC236}">
                <a16:creationId xmlns:a16="http://schemas.microsoft.com/office/drawing/2014/main" id="{39A44BFE-DE4E-0DCB-D995-81B48B5F45DD}"/>
              </a:ext>
            </a:extLst>
          </p:cNvPr>
          <p:cNvSpPr>
            <a:spLocks noChangeAspect="1"/>
          </p:cNvSpPr>
          <p:nvPr/>
        </p:nvSpPr>
        <p:spPr>
          <a:xfrm>
            <a:off x="744640" y="5275814"/>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descr="Lupe mit einfarbiger Füllung">
            <a:extLst>
              <a:ext uri="{FF2B5EF4-FFF2-40B4-BE49-F238E27FC236}">
                <a16:creationId xmlns:a16="http://schemas.microsoft.com/office/drawing/2014/main" id="{723363E2-48B1-21C2-0E04-BDA4778E32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12713" y="5339494"/>
            <a:ext cx="333865" cy="333865"/>
          </a:xfrm>
          <a:prstGeom prst="rect">
            <a:avLst/>
          </a:prstGeom>
        </p:spPr>
      </p:pic>
      <p:sp>
        <p:nvSpPr>
          <p:cNvPr id="3" name="Rechteck 2">
            <a:extLst>
              <a:ext uri="{FF2B5EF4-FFF2-40B4-BE49-F238E27FC236}">
                <a16:creationId xmlns:a16="http://schemas.microsoft.com/office/drawing/2014/main" id="{B63A4DCE-95DB-CE27-1C48-7266799D598C}"/>
              </a:ext>
            </a:extLst>
          </p:cNvPr>
          <p:cNvSpPr/>
          <p:nvPr/>
        </p:nvSpPr>
        <p:spPr>
          <a:xfrm>
            <a:off x="718166" y="2599495"/>
            <a:ext cx="5740172" cy="2251332"/>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Untertitel 2">
            <a:extLst>
              <a:ext uri="{FF2B5EF4-FFF2-40B4-BE49-F238E27FC236}">
                <a16:creationId xmlns:a16="http://schemas.microsoft.com/office/drawing/2014/main" id="{35507EA3-F893-53B9-A120-1A8544C01E47}"/>
              </a:ext>
            </a:extLst>
          </p:cNvPr>
          <p:cNvSpPr txBox="1">
            <a:spLocks/>
          </p:cNvSpPr>
          <p:nvPr/>
        </p:nvSpPr>
        <p:spPr>
          <a:xfrm>
            <a:off x="1098410" y="3303581"/>
            <a:ext cx="4979684" cy="100091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One Lamp, yellow light bulb</a:t>
            </a:r>
          </a:p>
          <a:p>
            <a:pPr>
              <a:buClrTx/>
              <a:buFont typeface="Arial" panose="020B0604020202020204" pitchFamily="34" charset="0"/>
              <a:buChar char="•"/>
            </a:pPr>
            <a:r>
              <a:rPr lang="en-US" sz="1150"/>
              <a:t>PV modules (small or big) </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Various cables</a:t>
            </a:r>
          </a:p>
          <a:p>
            <a:pPr>
              <a:buClrTx/>
              <a:buFont typeface="Arial" panose="020B0604020202020204" pitchFamily="34" charset="0"/>
              <a:buChar char="•"/>
            </a:pPr>
            <a:r>
              <a:rPr lang="en-US" sz="1150"/>
              <a:t>Holder for PV panels</a:t>
            </a:r>
          </a:p>
          <a:p>
            <a:pPr>
              <a:buClrTx/>
              <a:buFont typeface="Arial" panose="020B0604020202020204" pitchFamily="34" charset="0"/>
              <a:buChar char="•"/>
            </a:pPr>
            <a:r>
              <a:rPr lang="en-US" sz="1150"/>
              <a:t>Resistance (Potentiometer)</a:t>
            </a:r>
          </a:p>
          <a:p>
            <a:pPr>
              <a:buFont typeface="Arial" panose="020B0604020202020204" pitchFamily="34" charset="0"/>
              <a:buChar char="•"/>
            </a:pPr>
            <a:endParaRPr lang="en-US" sz="1150"/>
          </a:p>
        </p:txBody>
      </p:sp>
      <p:sp>
        <p:nvSpPr>
          <p:cNvPr id="5" name="Untertitel 5">
            <a:extLst>
              <a:ext uri="{FF2B5EF4-FFF2-40B4-BE49-F238E27FC236}">
                <a16:creationId xmlns:a16="http://schemas.microsoft.com/office/drawing/2014/main" id="{431DF481-8198-E534-AD49-B349C8D841DC}"/>
              </a:ext>
            </a:extLst>
          </p:cNvPr>
          <p:cNvSpPr txBox="1">
            <a:spLocks/>
          </p:cNvSpPr>
          <p:nvPr/>
        </p:nvSpPr>
        <p:spPr>
          <a:xfrm>
            <a:off x="880317" y="2742218"/>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6" name="Gruppieren 5">
            <a:extLst>
              <a:ext uri="{FF2B5EF4-FFF2-40B4-BE49-F238E27FC236}">
                <a16:creationId xmlns:a16="http://schemas.microsoft.com/office/drawing/2014/main" id="{7DDC0195-BDCB-F954-F542-FF7380451A6C}"/>
              </a:ext>
            </a:extLst>
          </p:cNvPr>
          <p:cNvGrpSpPr/>
          <p:nvPr/>
        </p:nvGrpSpPr>
        <p:grpSpPr>
          <a:xfrm>
            <a:off x="6261173" y="2374846"/>
            <a:ext cx="402475" cy="419630"/>
            <a:chOff x="6140368" y="3097011"/>
            <a:chExt cx="660145" cy="660145"/>
          </a:xfrm>
        </p:grpSpPr>
        <p:sp>
          <p:nvSpPr>
            <p:cNvPr id="7" name="Ellipse 6">
              <a:extLst>
                <a:ext uri="{FF2B5EF4-FFF2-40B4-BE49-F238E27FC236}">
                  <a16:creationId xmlns:a16="http://schemas.microsoft.com/office/drawing/2014/main" id="{DD4176D5-2FEC-17F7-AD72-D631B32E86D2}"/>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descr="Inventar mit einfarbiger Füllung">
              <a:extLst>
                <a:ext uri="{FF2B5EF4-FFF2-40B4-BE49-F238E27FC236}">
                  <a16:creationId xmlns:a16="http://schemas.microsoft.com/office/drawing/2014/main" id="{0AC21458-CD80-63E5-CE5C-95357A765E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pic>
        <p:nvPicPr>
          <p:cNvPr id="9" name="Grafik 8" descr="Ein Bild, das Elektrische Leitungen, Kabel, Elektronik, Im Haus enthält.&#10;&#10;Beschreibung automatisch generiert.">
            <a:extLst>
              <a:ext uri="{FF2B5EF4-FFF2-40B4-BE49-F238E27FC236}">
                <a16:creationId xmlns:a16="http://schemas.microsoft.com/office/drawing/2014/main" id="{68E6F2D9-EBAB-E0D5-0993-42190F50FA0D}"/>
              </a:ext>
            </a:extLst>
          </p:cNvPr>
          <p:cNvPicPr>
            <a:picLocks noChangeAspect="1"/>
          </p:cNvPicPr>
          <p:nvPr/>
        </p:nvPicPr>
        <p:blipFill rotWithShape="1">
          <a:blip r:embed="rId6"/>
          <a:srcRect l="12177" t="-493" r="-246" b="164"/>
          <a:stretch/>
        </p:blipFill>
        <p:spPr>
          <a:xfrm rot="5400000">
            <a:off x="2728645" y="7520236"/>
            <a:ext cx="2102344" cy="1790689"/>
          </a:xfrm>
          <a:prstGeom prst="rect">
            <a:avLst/>
          </a:prstGeom>
        </p:spPr>
      </p:pic>
    </p:spTree>
    <p:extLst>
      <p:ext uri="{BB962C8B-B14F-4D97-AF65-F5344CB8AC3E}">
        <p14:creationId xmlns:p14="http://schemas.microsoft.com/office/powerpoint/2010/main" val="33945501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Ein Bild, das Muster, Reihe, Quadrat, Rechteck enthält.&#10;&#10;Automatisch generierte Beschreibung">
            <a:extLst>
              <a:ext uri="{FF2B5EF4-FFF2-40B4-BE49-F238E27FC236}">
                <a16:creationId xmlns:a16="http://schemas.microsoft.com/office/drawing/2014/main" id="{5F7D5CE7-4268-E5C5-5746-42E776BCDDA6}"/>
              </a:ext>
            </a:extLst>
          </p:cNvPr>
          <p:cNvPicPr>
            <a:picLocks noChangeAspect="1"/>
          </p:cNvPicPr>
          <p:nvPr/>
        </p:nvPicPr>
        <p:blipFill>
          <a:blip r:embed="rId2"/>
          <a:stretch>
            <a:fillRect/>
          </a:stretch>
        </p:blipFill>
        <p:spPr>
          <a:xfrm>
            <a:off x="875983" y="5634256"/>
            <a:ext cx="5807710" cy="3988169"/>
          </a:xfrm>
          <a:prstGeom prst="rect">
            <a:avLst/>
          </a:prstGeom>
        </p:spPr>
      </p:pic>
      <p:sp>
        <p:nvSpPr>
          <p:cNvPr id="3" name="Foliennummernplatzhalter 2">
            <a:extLst>
              <a:ext uri="{FF2B5EF4-FFF2-40B4-BE49-F238E27FC236}">
                <a16:creationId xmlns:a16="http://schemas.microsoft.com/office/drawing/2014/main" id="{F12BBFA5-B294-5BDB-CE3B-144F91426D64}"/>
              </a:ext>
            </a:extLst>
          </p:cNvPr>
          <p:cNvSpPr>
            <a:spLocks noGrp="1"/>
          </p:cNvSpPr>
          <p:nvPr>
            <p:ph type="sldNum" sz="quarter" idx="4"/>
          </p:nvPr>
        </p:nvSpPr>
        <p:spPr/>
        <p:txBody>
          <a:bodyPr/>
          <a:lstStyle/>
          <a:p>
            <a:fld id="{DF7F771E-9578-4C04-B869-01AF4C35C90C}" type="slidenum">
              <a:rPr lang="de-DE" smtClean="0">
                <a:solidFill>
                  <a:schemeClr val="tx1"/>
                </a:solidFill>
              </a:rPr>
              <a:t>48</a:t>
            </a:fld>
            <a:endParaRPr lang="de-DE">
              <a:solidFill>
                <a:schemeClr val="tx1"/>
              </a:solidFill>
            </a:endParaRPr>
          </a:p>
        </p:txBody>
      </p:sp>
      <p:sp>
        <p:nvSpPr>
          <p:cNvPr id="4" name="Untertitel 5">
            <a:extLst>
              <a:ext uri="{FF2B5EF4-FFF2-40B4-BE49-F238E27FC236}">
                <a16:creationId xmlns:a16="http://schemas.microsoft.com/office/drawing/2014/main" id="{F7EEF4FB-2CD5-1044-2B5C-C9E0390B6BD6}"/>
              </a:ext>
            </a:extLst>
          </p:cNvPr>
          <p:cNvSpPr txBox="1">
            <a:spLocks/>
          </p:cNvSpPr>
          <p:nvPr/>
        </p:nvSpPr>
        <p:spPr>
          <a:xfrm>
            <a:off x="1180491" y="2751243"/>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solidFill>
                  <a:schemeClr val="tx1"/>
                </a:solidFill>
              </a:rPr>
              <a:t>Exercise</a:t>
            </a:r>
            <a:endParaRPr lang="de-DE">
              <a:solidFill>
                <a:schemeClr val="tx1"/>
              </a:solidFill>
            </a:endParaRPr>
          </a:p>
        </p:txBody>
      </p:sp>
      <p:sp>
        <p:nvSpPr>
          <p:cNvPr id="5" name="Ellipse 4">
            <a:extLst>
              <a:ext uri="{FF2B5EF4-FFF2-40B4-BE49-F238E27FC236}">
                <a16:creationId xmlns:a16="http://schemas.microsoft.com/office/drawing/2014/main" id="{BBC0ACD0-E034-06EA-4F3C-906D00A0F7C1}"/>
              </a:ext>
            </a:extLst>
          </p:cNvPr>
          <p:cNvSpPr>
            <a:spLocks noChangeAspect="1"/>
          </p:cNvSpPr>
          <p:nvPr/>
        </p:nvSpPr>
        <p:spPr>
          <a:xfrm>
            <a:off x="761850" y="2745307"/>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6" name="Grafik 5" descr="Skizze mit einfarbiger Füllung">
            <a:extLst>
              <a:ext uri="{FF2B5EF4-FFF2-40B4-BE49-F238E27FC236}">
                <a16:creationId xmlns:a16="http://schemas.microsoft.com/office/drawing/2014/main" id="{C9AFF49C-AE0C-7AAE-403E-D3501135AA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6327" y="2809039"/>
            <a:ext cx="379044" cy="379044"/>
          </a:xfrm>
          <a:prstGeom prst="rect">
            <a:avLst/>
          </a:prstGeom>
        </p:spPr>
      </p:pic>
      <p:sp>
        <p:nvSpPr>
          <p:cNvPr id="7" name="Untertitel 3">
            <a:extLst>
              <a:ext uri="{FF2B5EF4-FFF2-40B4-BE49-F238E27FC236}">
                <a16:creationId xmlns:a16="http://schemas.microsoft.com/office/drawing/2014/main" id="{C1D38F41-AD45-4C90-114B-777DC7D8D511}"/>
              </a:ext>
            </a:extLst>
          </p:cNvPr>
          <p:cNvSpPr txBox="1">
            <a:spLocks/>
          </p:cNvSpPr>
          <p:nvPr/>
        </p:nvSpPr>
        <p:spPr>
          <a:xfrm>
            <a:off x="736895" y="3823740"/>
            <a:ext cx="5939919" cy="164517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solidFill>
                  <a:schemeClr val="tx1"/>
                </a:solidFill>
              </a:rPr>
              <a:t>How did the voltage and current change when the resistor was connected?</a:t>
            </a:r>
          </a:p>
          <a:p>
            <a:pPr marL="139700" indent="0"/>
            <a:endParaRPr lang="en-US">
              <a:solidFill>
                <a:schemeClr val="tx1"/>
              </a:solidFill>
            </a:endParaRPr>
          </a:p>
          <a:p>
            <a:pPr marL="139700" indent="0"/>
            <a:r>
              <a:rPr lang="en-US">
                <a:solidFill>
                  <a:schemeClr val="tx1"/>
                </a:solidFill>
              </a:rPr>
              <a:t>Please draw a graph now, with the voltage V on the X-axis and the current A on the Y-axis.</a:t>
            </a:r>
          </a:p>
          <a:p>
            <a:pPr marL="139700" indent="0"/>
            <a:endParaRPr lang="en-US">
              <a:solidFill>
                <a:schemeClr val="tx1"/>
              </a:solidFill>
            </a:endParaRPr>
          </a:p>
          <a:p>
            <a:pPr marL="139700" indent="0"/>
            <a:r>
              <a:rPr lang="en-US">
                <a:solidFill>
                  <a:schemeClr val="tx1"/>
                </a:solidFill>
              </a:rPr>
              <a:t>Insert the values that you measured above as points on the graph. </a:t>
            </a:r>
          </a:p>
          <a:p>
            <a:pPr marL="139700" indent="0"/>
            <a:r>
              <a:rPr lang="en-US">
                <a:solidFill>
                  <a:schemeClr val="tx1"/>
                </a:solidFill>
              </a:rPr>
              <a:t>For example: with Resistor P ( Voltage | Current ) </a:t>
            </a:r>
          </a:p>
        </p:txBody>
      </p:sp>
      <p:sp>
        <p:nvSpPr>
          <p:cNvPr id="8" name="Untertitel 5">
            <a:extLst>
              <a:ext uri="{FF2B5EF4-FFF2-40B4-BE49-F238E27FC236}">
                <a16:creationId xmlns:a16="http://schemas.microsoft.com/office/drawing/2014/main" id="{709D0433-E3BB-0D15-852B-2633855F2488}"/>
              </a:ext>
            </a:extLst>
          </p:cNvPr>
          <p:cNvSpPr txBox="1">
            <a:spLocks/>
          </p:cNvSpPr>
          <p:nvPr/>
        </p:nvSpPr>
        <p:spPr>
          <a:xfrm>
            <a:off x="736895" y="339698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tx1"/>
                </a:solidFill>
              </a:rPr>
              <a:t>Task </a:t>
            </a:r>
          </a:p>
        </p:txBody>
      </p:sp>
      <p:graphicFrame>
        <p:nvGraphicFramePr>
          <p:cNvPr id="2" name="Google Shape;630;p38">
            <a:extLst>
              <a:ext uri="{FF2B5EF4-FFF2-40B4-BE49-F238E27FC236}">
                <a16:creationId xmlns:a16="http://schemas.microsoft.com/office/drawing/2014/main" id="{B2CD8FE1-8A4D-8A23-17BA-A1FDAD80935F}"/>
              </a:ext>
            </a:extLst>
          </p:cNvPr>
          <p:cNvGraphicFramePr/>
          <p:nvPr>
            <p:extLst>
              <p:ext uri="{D42A27DB-BD31-4B8C-83A1-F6EECF244321}">
                <p14:modId xmlns:p14="http://schemas.microsoft.com/office/powerpoint/2010/main" val="1522685693"/>
              </p:ext>
            </p:extLst>
          </p:nvPr>
        </p:nvGraphicFramePr>
        <p:xfrm>
          <a:off x="719138" y="1277938"/>
          <a:ext cx="5919009" cy="1035346"/>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en" sz="1000" b="1">
                          <a:solidFill>
                            <a:schemeClr val="dk1"/>
                          </a:solidFill>
                          <a:latin typeface="Epilogue"/>
                          <a:ea typeface="Epilogue"/>
                          <a:cs typeface="Epilogue"/>
                          <a:sym typeface="Epilogue"/>
                        </a:rPr>
                        <a:t>Inclination Angle</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I</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157" b="0" i="0" u="none" strike="noStrike" cap="none" err="1">
                          <a:solidFill>
                            <a:srgbClr val="000000"/>
                          </a:solidFill>
                          <a:effectLst/>
                          <a:latin typeface="Arial"/>
                          <a:ea typeface="Sofia Sans"/>
                          <a:cs typeface="Arial"/>
                          <a:sym typeface="Sofia Sans"/>
                        </a:rPr>
                        <a:t>Without</a:t>
                      </a:r>
                      <a:r>
                        <a:rPr lang="de-DE" sz="1157" b="0" i="0" u="none" strike="noStrike" cap="none">
                          <a:solidFill>
                            <a:srgbClr val="000000"/>
                          </a:solidFill>
                          <a:effectLst/>
                          <a:latin typeface="Arial"/>
                          <a:ea typeface="Sofia Sans"/>
                          <a:cs typeface="Arial"/>
                          <a:sym typeface="Sofia Sans"/>
                        </a:rPr>
                        <a:t> </a:t>
                      </a:r>
                      <a:r>
                        <a:rPr lang="de-DE" sz="1157" b="0" i="0" u="none" strike="noStrike" cap="none" err="1">
                          <a:solidFill>
                            <a:srgbClr val="000000"/>
                          </a:solidFill>
                          <a:effectLst/>
                          <a:latin typeface="Arial"/>
                          <a:ea typeface="Sofia Sans"/>
                          <a:cs typeface="Arial"/>
                          <a:sym typeface="Sofia Sans"/>
                        </a:rPr>
                        <a:t>Resistor</a:t>
                      </a:r>
                      <a:endParaRPr sz="1157" b="0"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r>
                        <a:rPr lang="en-US" sz="1157" b="0" i="0" u="none" strike="noStrike" cap="none">
                          <a:solidFill>
                            <a:srgbClr val="000000"/>
                          </a:solidFill>
                          <a:effectLst/>
                          <a:latin typeface="Arial"/>
                          <a:ea typeface="Arial"/>
                          <a:cs typeface="Arial"/>
                          <a:sym typeface="Arial"/>
                        </a:rPr>
                        <a:t>With Resistor</a:t>
                      </a: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bl>
          </a:graphicData>
        </a:graphic>
      </p:graphicFrame>
      <p:cxnSp>
        <p:nvCxnSpPr>
          <p:cNvPr id="14" name="Gerade Verbindung mit Pfeil 13">
            <a:extLst>
              <a:ext uri="{FF2B5EF4-FFF2-40B4-BE49-F238E27FC236}">
                <a16:creationId xmlns:a16="http://schemas.microsoft.com/office/drawing/2014/main" id="{9B6F63AA-9EFC-2443-BE3F-F6269577766E}"/>
              </a:ext>
            </a:extLst>
          </p:cNvPr>
          <p:cNvCxnSpPr>
            <a:cxnSpLocks/>
          </p:cNvCxnSpPr>
          <p:nvPr/>
        </p:nvCxnSpPr>
        <p:spPr>
          <a:xfrm flipV="1">
            <a:off x="1463040" y="6026332"/>
            <a:ext cx="0" cy="32831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8EFA853D-25C1-2939-B791-EBC9659A1DD3}"/>
              </a:ext>
            </a:extLst>
          </p:cNvPr>
          <p:cNvCxnSpPr>
            <a:cxnSpLocks/>
          </p:cNvCxnSpPr>
          <p:nvPr/>
        </p:nvCxnSpPr>
        <p:spPr>
          <a:xfrm>
            <a:off x="1241977" y="9078685"/>
            <a:ext cx="4447701"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hteck 19">
            <a:extLst>
              <a:ext uri="{FF2B5EF4-FFF2-40B4-BE49-F238E27FC236}">
                <a16:creationId xmlns:a16="http://schemas.microsoft.com/office/drawing/2014/main" id="{ABD104F5-284C-1F88-3B59-E1F5822C7B5D}"/>
              </a:ext>
            </a:extLst>
          </p:cNvPr>
          <p:cNvSpPr/>
          <p:nvPr/>
        </p:nvSpPr>
        <p:spPr>
          <a:xfrm>
            <a:off x="1079863" y="5773783"/>
            <a:ext cx="278669" cy="34898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1" name="Rechteck 20">
            <a:extLst>
              <a:ext uri="{FF2B5EF4-FFF2-40B4-BE49-F238E27FC236}">
                <a16:creationId xmlns:a16="http://schemas.microsoft.com/office/drawing/2014/main" id="{F0AF6579-B4B9-6F94-5FCA-BA3E633257F3}"/>
              </a:ext>
            </a:extLst>
          </p:cNvPr>
          <p:cNvSpPr/>
          <p:nvPr/>
        </p:nvSpPr>
        <p:spPr>
          <a:xfrm>
            <a:off x="875982" y="5634256"/>
            <a:ext cx="797839" cy="8007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rPr>
              <a:t>y</a:t>
            </a:r>
          </a:p>
        </p:txBody>
      </p:sp>
      <p:sp>
        <p:nvSpPr>
          <p:cNvPr id="23" name="Rechteck 22">
            <a:extLst>
              <a:ext uri="{FF2B5EF4-FFF2-40B4-BE49-F238E27FC236}">
                <a16:creationId xmlns:a16="http://schemas.microsoft.com/office/drawing/2014/main" id="{D8F7DF17-763C-B96F-DE75-33BB3E3FB953}"/>
              </a:ext>
            </a:extLst>
          </p:cNvPr>
          <p:cNvSpPr/>
          <p:nvPr/>
        </p:nvSpPr>
        <p:spPr>
          <a:xfrm>
            <a:off x="5257833" y="8908029"/>
            <a:ext cx="797839" cy="8007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rPr>
              <a:t>x</a:t>
            </a:r>
          </a:p>
        </p:txBody>
      </p:sp>
    </p:spTree>
    <p:extLst>
      <p:ext uri="{BB962C8B-B14F-4D97-AF65-F5344CB8AC3E}">
        <p14:creationId xmlns:p14="http://schemas.microsoft.com/office/powerpoint/2010/main" val="19105690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91AC76EF-EB42-F946-1140-9B67DE0DFA3B}"/>
              </a:ext>
            </a:extLst>
          </p:cNvPr>
          <p:cNvSpPr>
            <a:spLocks noGrp="1"/>
          </p:cNvSpPr>
          <p:nvPr>
            <p:ph type="sldNum" sz="quarter" idx="4"/>
          </p:nvPr>
        </p:nvSpPr>
        <p:spPr/>
        <p:txBody>
          <a:bodyPr/>
          <a:lstStyle/>
          <a:p>
            <a:fld id="{DF7F771E-9578-4C04-B869-01AF4C35C90C}" type="slidenum">
              <a:rPr lang="de-DE" smtClean="0"/>
              <a:t>49</a:t>
            </a:fld>
            <a:endParaRPr lang="de-DE"/>
          </a:p>
        </p:txBody>
      </p:sp>
      <p:sp>
        <p:nvSpPr>
          <p:cNvPr id="4" name="Rechteck 3">
            <a:extLst>
              <a:ext uri="{FF2B5EF4-FFF2-40B4-BE49-F238E27FC236}">
                <a16:creationId xmlns:a16="http://schemas.microsoft.com/office/drawing/2014/main" id="{27A4B040-741A-3352-04DF-8EB48B427AD6}"/>
              </a:ext>
            </a:extLst>
          </p:cNvPr>
          <p:cNvSpPr/>
          <p:nvPr/>
        </p:nvSpPr>
        <p:spPr>
          <a:xfrm>
            <a:off x="719138" y="1596647"/>
            <a:ext cx="5740172" cy="3151522"/>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Ellipse 4">
            <a:extLst>
              <a:ext uri="{FF2B5EF4-FFF2-40B4-BE49-F238E27FC236}">
                <a16:creationId xmlns:a16="http://schemas.microsoft.com/office/drawing/2014/main" id="{A969D0C5-54F7-C354-1EBD-53C2E400BB86}"/>
              </a:ext>
            </a:extLst>
          </p:cNvPr>
          <p:cNvSpPr>
            <a:spLocks noChangeAspect="1"/>
          </p:cNvSpPr>
          <p:nvPr/>
        </p:nvSpPr>
        <p:spPr>
          <a:xfrm>
            <a:off x="6128978" y="1277938"/>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Lesezeichen mit einfarbiger Füllung">
            <a:extLst>
              <a:ext uri="{FF2B5EF4-FFF2-40B4-BE49-F238E27FC236}">
                <a16:creationId xmlns:a16="http://schemas.microsoft.com/office/drawing/2014/main" id="{A954E7FF-610B-00D2-7835-D10AE248E0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1405785"/>
            <a:ext cx="404450" cy="404450"/>
          </a:xfrm>
          <a:prstGeom prst="rect">
            <a:avLst/>
          </a:prstGeom>
        </p:spPr>
      </p:pic>
      <p:sp>
        <p:nvSpPr>
          <p:cNvPr id="7" name="Untertitel 5">
            <a:extLst>
              <a:ext uri="{FF2B5EF4-FFF2-40B4-BE49-F238E27FC236}">
                <a16:creationId xmlns:a16="http://schemas.microsoft.com/office/drawing/2014/main" id="{2B7F9763-F7C1-31FA-1098-5E9008E3E072}"/>
              </a:ext>
            </a:extLst>
          </p:cNvPr>
          <p:cNvSpPr txBox="1">
            <a:spLocks/>
          </p:cNvSpPr>
          <p:nvPr/>
        </p:nvSpPr>
        <p:spPr>
          <a:xfrm>
            <a:off x="894164" y="169627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8" name="Untertitel 2">
            <a:extLst>
              <a:ext uri="{FF2B5EF4-FFF2-40B4-BE49-F238E27FC236}">
                <a16:creationId xmlns:a16="http://schemas.microsoft.com/office/drawing/2014/main" id="{CF790DA9-4446-907B-8C26-912B5C094970}"/>
              </a:ext>
            </a:extLst>
          </p:cNvPr>
          <p:cNvSpPr txBox="1">
            <a:spLocks/>
          </p:cNvSpPr>
          <p:nvPr/>
        </p:nvSpPr>
        <p:spPr>
          <a:xfrm>
            <a:off x="1103983" y="2189701"/>
            <a:ext cx="4979684" cy="140917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A resistor stabilizes the voltage and current output from a PV panel, drawing power based on its resistance.</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It helps the PV cell operate near its maximum power point, ensuring efficient energy conversion.</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A fixed resistor limits maximum current flow, protecting PV components from potential overcurrent damage.</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The operating point on the V-I curve is the specific point where the PV module is operating at a given moment. This point is determined by the load connected to the module. The load can be a resistor, a battery, or any other electrical device that uses the power generated by the PV module.</a:t>
            </a:r>
          </a:p>
          <a:p>
            <a:pPr marL="457200" indent="-317500">
              <a:lnSpc>
                <a:spcPct val="115000"/>
              </a:lnSpc>
              <a:buClr>
                <a:schemeClr val="lt1"/>
              </a:buClr>
              <a:buSzPts val="1400"/>
              <a:buFont typeface="Arial" panose="020B0604020202020204" pitchFamily="34" charset="0"/>
              <a:buChar char="•"/>
            </a:pPr>
            <a:endParaRPr lang="en-US">
              <a:latin typeface="Sofia Sans" panose="020B0604020202020204" charset="0"/>
            </a:endParaRPr>
          </a:p>
        </p:txBody>
      </p:sp>
    </p:spTree>
    <p:extLst>
      <p:ext uri="{BB962C8B-B14F-4D97-AF65-F5344CB8AC3E}">
        <p14:creationId xmlns:p14="http://schemas.microsoft.com/office/powerpoint/2010/main" val="25910057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0908D48-70E0-3E42-2092-B34B2F1A0B27}"/>
              </a:ext>
            </a:extLst>
          </p:cNvPr>
          <p:cNvSpPr>
            <a:spLocks noGrp="1"/>
          </p:cNvSpPr>
          <p:nvPr>
            <p:ph type="sldNum" sz="quarter" idx="4"/>
          </p:nvPr>
        </p:nvSpPr>
        <p:spPr/>
        <p:txBody>
          <a:bodyPr/>
          <a:lstStyle/>
          <a:p>
            <a:fld id="{DF7F771E-9578-4C04-B869-01AF4C35C90C}" type="slidenum">
              <a:rPr lang="de-DE" smtClean="0"/>
              <a:t>5</a:t>
            </a:fld>
            <a:endParaRPr lang="de-DE"/>
          </a:p>
        </p:txBody>
      </p:sp>
      <p:sp>
        <p:nvSpPr>
          <p:cNvPr id="4" name="Google Shape;343;p26">
            <a:extLst>
              <a:ext uri="{FF2B5EF4-FFF2-40B4-BE49-F238E27FC236}">
                <a16:creationId xmlns:a16="http://schemas.microsoft.com/office/drawing/2014/main" id="{58A76C2D-86CC-01D7-6734-A679A9E35B4C}"/>
              </a:ext>
            </a:extLst>
          </p:cNvPr>
          <p:cNvSpPr txBox="1">
            <a:spLocks/>
          </p:cNvSpPr>
          <p:nvPr/>
        </p:nvSpPr>
        <p:spPr>
          <a:xfrm>
            <a:off x="719138" y="1292943"/>
            <a:ext cx="5584681" cy="1864820"/>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dirty="0"/>
              <a:t>Chapter 3 – Understanding MPPT </a:t>
            </a:r>
            <a:r>
              <a:rPr lang="de-DE" dirty="0" err="1"/>
              <a:t>with</a:t>
            </a:r>
            <a:r>
              <a:rPr lang="de-DE" dirty="0"/>
              <a:t> TUM Controller</a:t>
            </a:r>
          </a:p>
          <a:p>
            <a:pPr marL="342900" indent="-342900">
              <a:buSzPct val="115000"/>
              <a:buFont typeface="+mj-lt"/>
              <a:buAutoNum type="arabicPeriod"/>
            </a:pPr>
            <a:r>
              <a:rPr lang="en-US" b="0" dirty="0"/>
              <a:t>MPPT – Maximum Power Point Tracking</a:t>
            </a:r>
          </a:p>
          <a:p>
            <a:pPr marL="342900" indent="-342900">
              <a:buSzPct val="115000"/>
              <a:buFont typeface="+mj-lt"/>
              <a:buAutoNum type="arabicPeriod"/>
            </a:pPr>
            <a:r>
              <a:rPr lang="en-US" b="0" dirty="0"/>
              <a:t>Controlling the MPPT</a:t>
            </a:r>
          </a:p>
          <a:p>
            <a:pPr marL="342900" indent="-342900">
              <a:buSzPct val="115000"/>
              <a:buFont typeface="+mj-lt"/>
              <a:buAutoNum type="arabicPeriod"/>
            </a:pPr>
            <a:r>
              <a:rPr lang="en-US" b="0" dirty="0"/>
              <a:t>PWM vs. MPPT</a:t>
            </a:r>
          </a:p>
          <a:p>
            <a:pPr marL="342900" indent="-342900">
              <a:buFont typeface="+mj-lt"/>
              <a:buAutoNum type="arabicPeriod"/>
            </a:pPr>
            <a:endParaRPr lang="en-US" b="0" dirty="0"/>
          </a:p>
        </p:txBody>
      </p:sp>
      <p:sp>
        <p:nvSpPr>
          <p:cNvPr id="5" name="Google Shape;343;p26">
            <a:extLst>
              <a:ext uri="{FF2B5EF4-FFF2-40B4-BE49-F238E27FC236}">
                <a16:creationId xmlns:a16="http://schemas.microsoft.com/office/drawing/2014/main" id="{BEE71359-BE60-024F-41E8-3C6B5074FD51}"/>
              </a:ext>
            </a:extLst>
          </p:cNvPr>
          <p:cNvSpPr txBox="1">
            <a:spLocks/>
          </p:cNvSpPr>
          <p:nvPr/>
        </p:nvSpPr>
        <p:spPr>
          <a:xfrm>
            <a:off x="6553202" y="1292943"/>
            <a:ext cx="476045" cy="1764152"/>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56</a:t>
            </a:r>
          </a:p>
          <a:p>
            <a:pPr marL="0" indent="0"/>
            <a:r>
              <a:rPr lang="de-DE" b="0"/>
              <a:t>57</a:t>
            </a:r>
          </a:p>
          <a:p>
            <a:pPr marL="0" indent="0"/>
            <a:r>
              <a:rPr lang="de-DE" b="0"/>
              <a:t>61</a:t>
            </a:r>
          </a:p>
          <a:p>
            <a:pPr marL="0" indent="0"/>
            <a:r>
              <a:rPr lang="de-DE" b="0"/>
              <a:t>63</a:t>
            </a:r>
          </a:p>
          <a:p>
            <a:pPr marL="0" indent="0"/>
            <a:endParaRPr lang="de-DE" b="0"/>
          </a:p>
          <a:p>
            <a:pPr marL="0" indent="0"/>
            <a:endParaRPr lang="de-DE" b="0"/>
          </a:p>
        </p:txBody>
      </p:sp>
      <p:sp>
        <p:nvSpPr>
          <p:cNvPr id="6" name="Google Shape;343;p26">
            <a:extLst>
              <a:ext uri="{FF2B5EF4-FFF2-40B4-BE49-F238E27FC236}">
                <a16:creationId xmlns:a16="http://schemas.microsoft.com/office/drawing/2014/main" id="{2D56349C-1812-7699-F1DA-7F93C2C03991}"/>
              </a:ext>
            </a:extLst>
          </p:cNvPr>
          <p:cNvSpPr txBox="1">
            <a:spLocks/>
          </p:cNvSpPr>
          <p:nvPr/>
        </p:nvSpPr>
        <p:spPr>
          <a:xfrm>
            <a:off x="719138" y="3057095"/>
            <a:ext cx="5584681" cy="2560988"/>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dirty="0"/>
              <a:t>Chapter 4 – </a:t>
            </a:r>
            <a:r>
              <a:rPr lang="en-US" dirty="0"/>
              <a:t>Application - Analyzing Energy Consumption Profiles of Household Appliances</a:t>
            </a:r>
          </a:p>
          <a:p>
            <a:pPr marL="342900" indent="-342900">
              <a:buSzPct val="115000"/>
              <a:buFont typeface="+mj-lt"/>
              <a:buAutoNum type="arabicPeriod"/>
            </a:pPr>
            <a:r>
              <a:rPr lang="en-US" b="0" dirty="0"/>
              <a:t>Task 1: Visualizing Energy Consumption Profiles of Household Appliances</a:t>
            </a:r>
          </a:p>
          <a:p>
            <a:pPr marL="342900" indent="-342900">
              <a:buSzPct val="115000"/>
              <a:buFont typeface="+mj-lt"/>
              <a:buAutoNum type="arabicPeriod"/>
            </a:pPr>
            <a:r>
              <a:rPr lang="en-US" b="0" dirty="0"/>
              <a:t>Task 2: Analyzing Different Usage Modes for the Kettle</a:t>
            </a:r>
          </a:p>
          <a:p>
            <a:pPr marL="342900" indent="-342900">
              <a:buSzPct val="115000"/>
              <a:buFont typeface="+mj-lt"/>
              <a:buAutoNum type="arabicPeriod"/>
            </a:pPr>
            <a:r>
              <a:rPr lang="en-US" b="0" dirty="0"/>
              <a:t>Task 3: Practical Examples - Kettle</a:t>
            </a:r>
          </a:p>
          <a:p>
            <a:pPr marL="342900" indent="-342900">
              <a:buSzPct val="115000"/>
              <a:buFont typeface="+mj-lt"/>
              <a:buAutoNum type="arabicPeriod"/>
            </a:pPr>
            <a:r>
              <a:rPr lang="en-US" b="0" dirty="0"/>
              <a:t>Task 4: Practical Examples – Hair Dryer</a:t>
            </a:r>
          </a:p>
          <a:p>
            <a:pPr marL="342900" indent="-342900">
              <a:buSzPct val="115000"/>
              <a:buFont typeface="+mj-lt"/>
              <a:buAutoNum type="arabicPeriod"/>
            </a:pPr>
            <a:r>
              <a:rPr lang="en-US" b="0" dirty="0"/>
              <a:t>Task 5: Evaluating the PV System Options for Residential Use</a:t>
            </a:r>
          </a:p>
        </p:txBody>
      </p:sp>
      <p:sp>
        <p:nvSpPr>
          <p:cNvPr id="7" name="Google Shape;343;p26">
            <a:extLst>
              <a:ext uri="{FF2B5EF4-FFF2-40B4-BE49-F238E27FC236}">
                <a16:creationId xmlns:a16="http://schemas.microsoft.com/office/drawing/2014/main" id="{5DD3F0F5-99D3-342B-B236-6E91896CB7A2}"/>
              </a:ext>
            </a:extLst>
          </p:cNvPr>
          <p:cNvSpPr txBox="1">
            <a:spLocks/>
          </p:cNvSpPr>
          <p:nvPr/>
        </p:nvSpPr>
        <p:spPr>
          <a:xfrm>
            <a:off x="6553202" y="3057095"/>
            <a:ext cx="476045" cy="1764152"/>
          </a:xfrm>
          <a:prstGeom prst="rect">
            <a:avLst/>
          </a:prstGeom>
          <a:noFill/>
          <a:ln>
            <a:noFill/>
          </a:ln>
        </p:spPr>
        <p:txBody>
          <a:bodyPr spcFirstLastPara="1" wrap="square" lIns="75584" tIns="75584" rIns="75584" bIns="75584"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l"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pPr marL="0" indent="0"/>
            <a:r>
              <a:rPr lang="de-DE" b="0"/>
              <a:t>64</a:t>
            </a:r>
          </a:p>
          <a:p>
            <a:pPr marL="0" indent="0"/>
            <a:endParaRPr lang="de-DE" b="0"/>
          </a:p>
          <a:p>
            <a:pPr marL="0" indent="0"/>
            <a:r>
              <a:rPr lang="de-DE" b="0"/>
              <a:t>67</a:t>
            </a:r>
          </a:p>
          <a:p>
            <a:pPr marL="0" indent="0"/>
            <a:endParaRPr lang="de-DE" b="0"/>
          </a:p>
          <a:p>
            <a:pPr marL="0" indent="0"/>
            <a:r>
              <a:rPr lang="de-DE" b="0"/>
              <a:t>69</a:t>
            </a:r>
          </a:p>
          <a:p>
            <a:pPr marL="0" indent="0"/>
            <a:r>
              <a:rPr lang="de-DE" b="0"/>
              <a:t>71</a:t>
            </a:r>
          </a:p>
          <a:p>
            <a:pPr marL="0" indent="0"/>
            <a:r>
              <a:rPr lang="de-DE" b="0"/>
              <a:t>73</a:t>
            </a:r>
          </a:p>
          <a:p>
            <a:pPr marL="0" indent="0"/>
            <a:r>
              <a:rPr lang="de-DE" b="0"/>
              <a:t>76</a:t>
            </a:r>
          </a:p>
          <a:p>
            <a:pPr marL="0" indent="0"/>
            <a:endParaRPr lang="de-DE" b="0"/>
          </a:p>
          <a:p>
            <a:pPr marL="0" indent="0"/>
            <a:endParaRPr lang="de-DE" b="0"/>
          </a:p>
        </p:txBody>
      </p:sp>
    </p:spTree>
    <p:extLst>
      <p:ext uri="{BB962C8B-B14F-4D97-AF65-F5344CB8AC3E}">
        <p14:creationId xmlns:p14="http://schemas.microsoft.com/office/powerpoint/2010/main" val="16623820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4014A30F-ECFD-294C-6613-F13CBC81B54D}"/>
              </a:ext>
            </a:extLst>
          </p:cNvPr>
          <p:cNvSpPr>
            <a:spLocks noGrp="1"/>
          </p:cNvSpPr>
          <p:nvPr>
            <p:ph type="sldNum" sz="quarter" idx="10"/>
          </p:nvPr>
        </p:nvSpPr>
        <p:spPr/>
        <p:txBody>
          <a:bodyPr/>
          <a:lstStyle/>
          <a:p>
            <a:fld id="{DF7F771E-9578-4C04-B869-01AF4C35C90C}" type="slidenum">
              <a:rPr lang="de-DE" smtClean="0"/>
              <a:t>50</a:t>
            </a:fld>
            <a:endParaRPr lang="de-DE"/>
          </a:p>
        </p:txBody>
      </p:sp>
      <p:sp>
        <p:nvSpPr>
          <p:cNvPr id="8" name="Titel 1">
            <a:extLst>
              <a:ext uri="{FF2B5EF4-FFF2-40B4-BE49-F238E27FC236}">
                <a16:creationId xmlns:a16="http://schemas.microsoft.com/office/drawing/2014/main" id="{C6DA3818-5A5B-E1C4-6BB8-D70E03A4994B}"/>
              </a:ext>
            </a:extLst>
          </p:cNvPr>
          <p:cNvSpPr>
            <a:spLocks noGrp="1"/>
          </p:cNvSpPr>
          <p:nvPr>
            <p:ph type="title"/>
          </p:nvPr>
        </p:nvSpPr>
        <p:spPr>
          <a:xfrm>
            <a:off x="589649" y="1121461"/>
            <a:ext cx="6380336" cy="636036"/>
          </a:xfrm>
        </p:spPr>
        <p:txBody>
          <a:bodyPr/>
          <a:lstStyle/>
          <a:p>
            <a:r>
              <a:rPr lang="de-DE"/>
              <a:t>4. </a:t>
            </a:r>
            <a:r>
              <a:rPr lang="de-DE" err="1"/>
              <a:t>Changing</a:t>
            </a:r>
            <a:r>
              <a:rPr lang="de-DE"/>
              <a:t> Load</a:t>
            </a:r>
          </a:p>
        </p:txBody>
      </p:sp>
      <p:sp>
        <p:nvSpPr>
          <p:cNvPr id="9" name="Untertitel 3">
            <a:extLst>
              <a:ext uri="{FF2B5EF4-FFF2-40B4-BE49-F238E27FC236}">
                <a16:creationId xmlns:a16="http://schemas.microsoft.com/office/drawing/2014/main" id="{35E64949-4254-2BDE-EE66-0D6E408A903F}"/>
              </a:ext>
            </a:extLst>
          </p:cNvPr>
          <p:cNvSpPr txBox="1">
            <a:spLocks/>
          </p:cNvSpPr>
          <p:nvPr/>
        </p:nvSpPr>
        <p:spPr>
          <a:xfrm>
            <a:off x="719138" y="1944537"/>
            <a:ext cx="5944510" cy="89363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endParaRPr lang="de-DE"/>
          </a:p>
        </p:txBody>
      </p:sp>
      <p:sp>
        <p:nvSpPr>
          <p:cNvPr id="10" name="Untertitel 5">
            <a:extLst>
              <a:ext uri="{FF2B5EF4-FFF2-40B4-BE49-F238E27FC236}">
                <a16:creationId xmlns:a16="http://schemas.microsoft.com/office/drawing/2014/main" id="{13E948A6-8C11-A150-17AA-29CFEA2F18AA}"/>
              </a:ext>
            </a:extLst>
          </p:cNvPr>
          <p:cNvSpPr txBox="1">
            <a:spLocks/>
          </p:cNvSpPr>
          <p:nvPr/>
        </p:nvSpPr>
        <p:spPr>
          <a:xfrm>
            <a:off x="1093301" y="2020337"/>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11" name="Ellipse 10">
            <a:extLst>
              <a:ext uri="{FF2B5EF4-FFF2-40B4-BE49-F238E27FC236}">
                <a16:creationId xmlns:a16="http://schemas.microsoft.com/office/drawing/2014/main" id="{FFEBDA36-FA68-6BAE-F25C-109C59370F00}"/>
              </a:ext>
            </a:extLst>
          </p:cNvPr>
          <p:cNvSpPr>
            <a:spLocks noChangeAspect="1"/>
          </p:cNvSpPr>
          <p:nvPr/>
        </p:nvSpPr>
        <p:spPr>
          <a:xfrm>
            <a:off x="719137" y="1990842"/>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descr="Lupe mit einfarbiger Füllung">
            <a:extLst>
              <a:ext uri="{FF2B5EF4-FFF2-40B4-BE49-F238E27FC236}">
                <a16:creationId xmlns:a16="http://schemas.microsoft.com/office/drawing/2014/main" id="{03CC630E-64F3-080D-B692-5513B9790A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7210" y="2054522"/>
            <a:ext cx="333865" cy="333865"/>
          </a:xfrm>
          <a:prstGeom prst="rect">
            <a:avLst/>
          </a:prstGeom>
        </p:spPr>
      </p:pic>
      <p:sp>
        <p:nvSpPr>
          <p:cNvPr id="13" name="Untertitel 3">
            <a:extLst>
              <a:ext uri="{FF2B5EF4-FFF2-40B4-BE49-F238E27FC236}">
                <a16:creationId xmlns:a16="http://schemas.microsoft.com/office/drawing/2014/main" id="{99ABC6A9-52D6-1E9B-0171-068764360D68}"/>
              </a:ext>
            </a:extLst>
          </p:cNvPr>
          <p:cNvSpPr txBox="1">
            <a:spLocks/>
          </p:cNvSpPr>
          <p:nvPr/>
        </p:nvSpPr>
        <p:spPr>
          <a:xfrm>
            <a:off x="719137" y="5236349"/>
            <a:ext cx="5919009" cy="208476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150" b="1">
                <a:latin typeface="Sofia Sans" panose="020B0604020202020204" charset="0"/>
              </a:rPr>
              <a:t>Follow these steps to conduct the experiment:</a:t>
            </a:r>
          </a:p>
          <a:p>
            <a:pPr marL="368300" indent="-228600">
              <a:buFont typeface="+mj-lt"/>
              <a:buAutoNum type="arabicPeriod"/>
            </a:pPr>
            <a:r>
              <a:rPr lang="en-US" sz="1150">
                <a:latin typeface="Sofia Sans" panose="020B0604020202020204" charset="0"/>
              </a:rPr>
              <a:t>Put the lamp at a distance of 10cm in front of the PV panel.</a:t>
            </a:r>
          </a:p>
          <a:p>
            <a:pPr marL="368300" indent="-228600">
              <a:buFont typeface="+mj-lt"/>
              <a:buAutoNum type="arabicPeriod"/>
            </a:pPr>
            <a:r>
              <a:rPr lang="en-US" sz="1200">
                <a:latin typeface="Sofia Sans" panose="020B0604020202020204" charset="0"/>
                <a:cs typeface="Times New Roman"/>
              </a:rPr>
              <a:t>Now change the load resistance slowly and find different resistances.</a:t>
            </a:r>
            <a:endParaRPr lang="en-US" sz="1150">
              <a:latin typeface="Sofia Sans" panose="020B0604020202020204" charset="0"/>
              <a:cs typeface="Times New Roman"/>
            </a:endParaRPr>
          </a:p>
          <a:p>
            <a:pPr marL="368300" indent="-228600">
              <a:lnSpc>
                <a:spcPct val="114999"/>
              </a:lnSpc>
              <a:buFont typeface="+mj-lt"/>
              <a:buAutoNum type="arabicPeriod"/>
            </a:pPr>
            <a:r>
              <a:rPr lang="en-US" sz="1200">
                <a:latin typeface="Sofia Sans" panose="020B0604020202020204" charset="0"/>
                <a:cs typeface="Times New Roman"/>
              </a:rPr>
              <a:t>Put the current and voltages at the different resistances you try out in the table below:</a:t>
            </a:r>
          </a:p>
          <a:p>
            <a:pPr marL="368300" indent="-228600">
              <a:lnSpc>
                <a:spcPct val="114999"/>
              </a:lnSpc>
              <a:buFont typeface="+mj-lt"/>
              <a:buAutoNum type="arabicPeriod"/>
            </a:pPr>
            <a:r>
              <a:rPr lang="en-US" sz="1200">
                <a:latin typeface="Sofia Sans" panose="020B0604020202020204" charset="0"/>
                <a:cs typeface="Times New Roman"/>
              </a:rPr>
              <a:t>Please measure the voltage and the current, when the potentiometer is at the far left stop.</a:t>
            </a:r>
          </a:p>
          <a:p>
            <a:pPr marL="368300" indent="-228600">
              <a:lnSpc>
                <a:spcPct val="114999"/>
              </a:lnSpc>
              <a:buFont typeface="+mj-lt"/>
              <a:buAutoNum type="arabicPeriod"/>
            </a:pPr>
            <a:r>
              <a:rPr lang="en-US" sz="1200">
                <a:latin typeface="Sofia Sans" panose="020B0604020202020204" charset="0"/>
                <a:cs typeface="Times New Roman"/>
              </a:rPr>
              <a:t>Now measure the voltage and the current, when the potentiometer has been increased by three, six and ten rotations.</a:t>
            </a:r>
            <a:endParaRPr lang="en-US" sz="1150"/>
          </a:p>
          <a:p>
            <a:pPr>
              <a:buFont typeface="+mj-lt"/>
              <a:buAutoNum type="arabicPeriod"/>
            </a:pPr>
            <a:endParaRPr lang="en-US"/>
          </a:p>
          <a:p>
            <a:pPr>
              <a:buFont typeface="+mj-lt"/>
              <a:buAutoNum type="arabicPeriod"/>
            </a:pPr>
            <a:endParaRPr lang="en-US"/>
          </a:p>
        </p:txBody>
      </p:sp>
      <p:pic>
        <p:nvPicPr>
          <p:cNvPr id="3" name="Grafik 2" descr="Ein Bild, das Elektrische Leitungen, Kabel, Elektronik, Im Haus enthält.&#10;&#10;Beschreibung automatisch generiert.">
            <a:extLst>
              <a:ext uri="{FF2B5EF4-FFF2-40B4-BE49-F238E27FC236}">
                <a16:creationId xmlns:a16="http://schemas.microsoft.com/office/drawing/2014/main" id="{08E6BB6E-4AAC-EDE5-31D6-85074D93E22D}"/>
              </a:ext>
            </a:extLst>
          </p:cNvPr>
          <p:cNvPicPr>
            <a:picLocks noChangeAspect="1"/>
          </p:cNvPicPr>
          <p:nvPr/>
        </p:nvPicPr>
        <p:blipFill rotWithShape="1">
          <a:blip r:embed="rId4"/>
          <a:srcRect l="12177" t="-493" r="-246" b="164"/>
          <a:stretch/>
        </p:blipFill>
        <p:spPr>
          <a:xfrm rot="5400000">
            <a:off x="2445778" y="7610980"/>
            <a:ext cx="2668119" cy="2272592"/>
          </a:xfrm>
          <a:prstGeom prst="rect">
            <a:avLst/>
          </a:prstGeom>
        </p:spPr>
      </p:pic>
      <p:sp>
        <p:nvSpPr>
          <p:cNvPr id="2" name="Rechteck 1">
            <a:extLst>
              <a:ext uri="{FF2B5EF4-FFF2-40B4-BE49-F238E27FC236}">
                <a16:creationId xmlns:a16="http://schemas.microsoft.com/office/drawing/2014/main" id="{77F8CD97-699A-DE57-3FEF-FEF8143410F9}"/>
              </a:ext>
            </a:extLst>
          </p:cNvPr>
          <p:cNvSpPr/>
          <p:nvPr/>
        </p:nvSpPr>
        <p:spPr>
          <a:xfrm>
            <a:off x="719138" y="2725113"/>
            <a:ext cx="5740172" cy="2251332"/>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Untertitel 2">
            <a:extLst>
              <a:ext uri="{FF2B5EF4-FFF2-40B4-BE49-F238E27FC236}">
                <a16:creationId xmlns:a16="http://schemas.microsoft.com/office/drawing/2014/main" id="{92980512-ADDD-53E1-7921-1CEDFBE2751D}"/>
              </a:ext>
            </a:extLst>
          </p:cNvPr>
          <p:cNvSpPr txBox="1">
            <a:spLocks/>
          </p:cNvSpPr>
          <p:nvPr/>
        </p:nvSpPr>
        <p:spPr>
          <a:xfrm>
            <a:off x="1099382" y="3429199"/>
            <a:ext cx="4979684" cy="127544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One Lamp, yellow light bulb</a:t>
            </a:r>
          </a:p>
          <a:p>
            <a:pPr>
              <a:buClrTx/>
              <a:buFont typeface="Arial" panose="020B0604020202020204" pitchFamily="34" charset="0"/>
              <a:buChar char="•"/>
            </a:pPr>
            <a:r>
              <a:rPr lang="en-US" sz="1150"/>
              <a:t>PV modules (small or big) </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Various cables</a:t>
            </a:r>
          </a:p>
          <a:p>
            <a:pPr>
              <a:buClrTx/>
              <a:buFont typeface="Arial" panose="020B0604020202020204" pitchFamily="34" charset="0"/>
              <a:buChar char="•"/>
            </a:pPr>
            <a:r>
              <a:rPr lang="en-US" sz="1150"/>
              <a:t>Holder for PV panels</a:t>
            </a:r>
          </a:p>
          <a:p>
            <a:pPr>
              <a:buClrTx/>
              <a:buFont typeface="Arial" panose="020B0604020202020204" pitchFamily="34" charset="0"/>
              <a:buChar char="•"/>
            </a:pPr>
            <a:r>
              <a:rPr lang="en-US" sz="1150"/>
              <a:t>Resistance (Potentiometer)</a:t>
            </a:r>
          </a:p>
          <a:p>
            <a:pPr>
              <a:buFont typeface="Arial" panose="020B0604020202020204" pitchFamily="34" charset="0"/>
              <a:buChar char="•"/>
            </a:pPr>
            <a:endParaRPr lang="en-US" sz="1150"/>
          </a:p>
        </p:txBody>
      </p:sp>
      <p:sp>
        <p:nvSpPr>
          <p:cNvPr id="5" name="Untertitel 5">
            <a:extLst>
              <a:ext uri="{FF2B5EF4-FFF2-40B4-BE49-F238E27FC236}">
                <a16:creationId xmlns:a16="http://schemas.microsoft.com/office/drawing/2014/main" id="{1C9F2256-D15F-DFDE-B0C7-2D3347EF2C61}"/>
              </a:ext>
            </a:extLst>
          </p:cNvPr>
          <p:cNvSpPr txBox="1">
            <a:spLocks/>
          </p:cNvSpPr>
          <p:nvPr/>
        </p:nvSpPr>
        <p:spPr>
          <a:xfrm>
            <a:off x="881289" y="2867836"/>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6" name="Gruppieren 5">
            <a:extLst>
              <a:ext uri="{FF2B5EF4-FFF2-40B4-BE49-F238E27FC236}">
                <a16:creationId xmlns:a16="http://schemas.microsoft.com/office/drawing/2014/main" id="{3E04C802-506A-3818-AD79-581FD8868747}"/>
              </a:ext>
            </a:extLst>
          </p:cNvPr>
          <p:cNvGrpSpPr/>
          <p:nvPr/>
        </p:nvGrpSpPr>
        <p:grpSpPr>
          <a:xfrm>
            <a:off x="6262145" y="2500464"/>
            <a:ext cx="402475" cy="419630"/>
            <a:chOff x="6140368" y="3097011"/>
            <a:chExt cx="660145" cy="660145"/>
          </a:xfrm>
        </p:grpSpPr>
        <p:sp>
          <p:nvSpPr>
            <p:cNvPr id="15" name="Ellipse 14">
              <a:extLst>
                <a:ext uri="{FF2B5EF4-FFF2-40B4-BE49-F238E27FC236}">
                  <a16:creationId xmlns:a16="http://schemas.microsoft.com/office/drawing/2014/main" id="{A971F318-617B-BCEE-B4FA-2C9242154D14}"/>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Inventar mit einfarbiger Füllung">
              <a:extLst>
                <a:ext uri="{FF2B5EF4-FFF2-40B4-BE49-F238E27FC236}">
                  <a16:creationId xmlns:a16="http://schemas.microsoft.com/office/drawing/2014/main" id="{5C2B66FD-99F8-106F-3270-693D7BFA8E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41840" y="3198483"/>
              <a:ext cx="457200" cy="457200"/>
            </a:xfrm>
            <a:prstGeom prst="rect">
              <a:avLst/>
            </a:prstGeom>
          </p:spPr>
        </p:pic>
      </p:grpSp>
    </p:spTree>
    <p:extLst>
      <p:ext uri="{BB962C8B-B14F-4D97-AF65-F5344CB8AC3E}">
        <p14:creationId xmlns:p14="http://schemas.microsoft.com/office/powerpoint/2010/main" val="37826688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1781017-1259-07BD-1A47-5A17E1D26752}"/>
              </a:ext>
            </a:extLst>
          </p:cNvPr>
          <p:cNvSpPr>
            <a:spLocks noGrp="1"/>
          </p:cNvSpPr>
          <p:nvPr>
            <p:ph type="sldNum" sz="quarter" idx="4"/>
          </p:nvPr>
        </p:nvSpPr>
        <p:spPr/>
        <p:txBody>
          <a:bodyPr/>
          <a:lstStyle/>
          <a:p>
            <a:fld id="{DF7F771E-9578-4C04-B869-01AF4C35C90C}" type="slidenum">
              <a:rPr lang="de-DE" smtClean="0"/>
              <a:t>51</a:t>
            </a:fld>
            <a:endParaRPr lang="de-DE"/>
          </a:p>
        </p:txBody>
      </p:sp>
      <p:sp>
        <p:nvSpPr>
          <p:cNvPr id="4" name="Untertitel 5">
            <a:extLst>
              <a:ext uri="{FF2B5EF4-FFF2-40B4-BE49-F238E27FC236}">
                <a16:creationId xmlns:a16="http://schemas.microsoft.com/office/drawing/2014/main" id="{0886E554-0DF7-75EE-9754-EFF75D9C572A}"/>
              </a:ext>
            </a:extLst>
          </p:cNvPr>
          <p:cNvSpPr txBox="1">
            <a:spLocks/>
          </p:cNvSpPr>
          <p:nvPr/>
        </p:nvSpPr>
        <p:spPr>
          <a:xfrm>
            <a:off x="715372" y="3648277"/>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How does changing the resistance affect the operating point?</a:t>
            </a:r>
            <a:endParaRPr lang="de-DE" sz="1200">
              <a:solidFill>
                <a:schemeClr val="accent2"/>
              </a:solidFill>
            </a:endParaRPr>
          </a:p>
        </p:txBody>
      </p:sp>
      <p:sp>
        <p:nvSpPr>
          <p:cNvPr id="5" name="Untertitel 3">
            <a:extLst>
              <a:ext uri="{FF2B5EF4-FFF2-40B4-BE49-F238E27FC236}">
                <a16:creationId xmlns:a16="http://schemas.microsoft.com/office/drawing/2014/main" id="{BA04B2A8-AC32-621D-A3E0-550DE901000A}"/>
              </a:ext>
            </a:extLst>
          </p:cNvPr>
          <p:cNvSpPr txBox="1">
            <a:spLocks/>
          </p:cNvSpPr>
          <p:nvPr/>
        </p:nvSpPr>
        <p:spPr>
          <a:xfrm>
            <a:off x="715372" y="4066918"/>
            <a:ext cx="5933121" cy="276165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b="1" i="1"/>
              <a:t>High Resistance (Open Circuit):</a:t>
            </a:r>
          </a:p>
          <a:p>
            <a:pPr marL="768350" lvl="1" indent="-171450" algn="l">
              <a:buFont typeface="Arial" panose="020B0604020202020204" pitchFamily="34" charset="0"/>
              <a:buChar char="•"/>
            </a:pPr>
            <a:r>
              <a:rPr lang="en-US"/>
              <a:t>When the resistance is very high (like when there's no load connected), the current is close to zero.</a:t>
            </a:r>
          </a:p>
          <a:p>
            <a:pPr marL="768350" lvl="1" indent="-171450" algn="l">
              <a:buFont typeface="Arial" panose="020B0604020202020204" pitchFamily="34" charset="0"/>
              <a:buChar char="•"/>
            </a:pPr>
            <a:r>
              <a:rPr lang="en-US"/>
              <a:t>The operating point is at the open-circuit voltage (</a:t>
            </a:r>
            <a:r>
              <a:rPr lang="en-US" err="1"/>
              <a:t>Voc</a:t>
            </a:r>
            <a:r>
              <a:rPr lang="en-US"/>
              <a:t>), which is the maximum voltage the PV module can produce.</a:t>
            </a:r>
          </a:p>
          <a:p>
            <a:pPr marL="768350" lvl="1" indent="-171450" algn="l">
              <a:buFont typeface="Arial" panose="020B0604020202020204" pitchFamily="34" charset="0"/>
              <a:buChar char="•"/>
            </a:pPr>
            <a:endParaRPr lang="en-US"/>
          </a:p>
          <a:p>
            <a:pPr marL="139700" indent="0"/>
            <a:r>
              <a:rPr lang="en-US" b="1" i="1"/>
              <a:t>Low Resistance (Short Circuit):</a:t>
            </a:r>
          </a:p>
          <a:p>
            <a:pPr marL="768350" lvl="1" indent="-171450" algn="l">
              <a:buFont typeface="Arial" panose="020B0604020202020204" pitchFamily="34" charset="0"/>
              <a:buChar char="•"/>
            </a:pPr>
            <a:r>
              <a:rPr lang="en-US"/>
              <a:t>When the resistance is very low (like when the terminals are directly connected), the voltage is close to zero.</a:t>
            </a:r>
          </a:p>
          <a:p>
            <a:pPr marL="768350" lvl="1" indent="-171450" algn="l">
              <a:buFont typeface="Arial" panose="020B0604020202020204" pitchFamily="34" charset="0"/>
              <a:buChar char="•"/>
            </a:pPr>
            <a:r>
              <a:rPr lang="en-US"/>
              <a:t>The operating point is at the short-circuit current (</a:t>
            </a:r>
            <a:r>
              <a:rPr lang="en-US" err="1"/>
              <a:t>Isc</a:t>
            </a:r>
            <a:r>
              <a:rPr lang="en-US"/>
              <a:t>), which is the maximum current </a:t>
            </a:r>
          </a:p>
          <a:p>
            <a:pPr marL="768350" lvl="1" indent="-171450" algn="l">
              <a:buFont typeface="Arial" panose="020B0604020202020204" pitchFamily="34" charset="0"/>
              <a:buChar char="•"/>
            </a:pPr>
            <a:r>
              <a:rPr lang="en-US"/>
              <a:t>the PV module can produce.</a:t>
            </a:r>
          </a:p>
        </p:txBody>
      </p:sp>
      <p:sp>
        <p:nvSpPr>
          <p:cNvPr id="6" name="Rechteck 5">
            <a:extLst>
              <a:ext uri="{FF2B5EF4-FFF2-40B4-BE49-F238E27FC236}">
                <a16:creationId xmlns:a16="http://schemas.microsoft.com/office/drawing/2014/main" id="{95BBC38F-3320-585A-5611-E86486CB3E7E}"/>
              </a:ext>
            </a:extLst>
          </p:cNvPr>
          <p:cNvSpPr/>
          <p:nvPr/>
        </p:nvSpPr>
        <p:spPr>
          <a:xfrm>
            <a:off x="2955016" y="6828575"/>
            <a:ext cx="1642110" cy="4699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000000"/>
                </a:solidFill>
                <a:effectLst/>
                <a:latin typeface="Times New Roman" panose="02020603050405020304" pitchFamily="18" charset="0"/>
                <a:ea typeface="Times New Roman" panose="02020603050405020304" pitchFamily="18" charset="0"/>
              </a:rPr>
              <a:t>U = R x I</a:t>
            </a:r>
            <a:endParaRPr lang="de-DE" sz="1200">
              <a:effectLst/>
              <a:latin typeface="Times New Roman" panose="02020603050405020304" pitchFamily="18" charset="0"/>
              <a:ea typeface="Times New Roman" panose="02020603050405020304" pitchFamily="18" charset="0"/>
            </a:endParaRPr>
          </a:p>
        </p:txBody>
      </p:sp>
      <p:sp>
        <p:nvSpPr>
          <p:cNvPr id="7" name="Untertitel 3">
            <a:extLst>
              <a:ext uri="{FF2B5EF4-FFF2-40B4-BE49-F238E27FC236}">
                <a16:creationId xmlns:a16="http://schemas.microsoft.com/office/drawing/2014/main" id="{D7EF53D4-697F-A0B8-B2E1-D8E1B2324B84}"/>
              </a:ext>
            </a:extLst>
          </p:cNvPr>
          <p:cNvSpPr txBox="1">
            <a:spLocks/>
          </p:cNvSpPr>
          <p:nvPr/>
        </p:nvSpPr>
        <p:spPr>
          <a:xfrm>
            <a:off x="740538" y="7407135"/>
            <a:ext cx="5933121" cy="151492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b="1" i="1"/>
              <a:t>Intermediate Resistance:</a:t>
            </a:r>
          </a:p>
          <a:p>
            <a:pPr marL="768350" lvl="1" indent="-171450" algn="l">
              <a:buFont typeface="Arial" panose="020B0604020202020204" pitchFamily="34" charset="0"/>
              <a:buChar char="•"/>
            </a:pPr>
            <a:r>
              <a:rPr lang="en-US"/>
              <a:t>When a resistor is connected, it creates an intermediate load.</a:t>
            </a:r>
          </a:p>
          <a:p>
            <a:pPr marL="768350" lvl="1" indent="-171450" algn="l">
              <a:buFont typeface="Arial" panose="020B0604020202020204" pitchFamily="34" charset="0"/>
              <a:buChar char="•"/>
            </a:pPr>
            <a:r>
              <a:rPr lang="en-US"/>
              <a:t>The voltage and current depend on the value of the resistance. This moves the operating point along the V-I curve.</a:t>
            </a:r>
          </a:p>
          <a:p>
            <a:pPr marL="768350" lvl="1" indent="-171450" algn="l">
              <a:buFont typeface="Arial" panose="020B0604020202020204" pitchFamily="34" charset="0"/>
              <a:buChar char="•"/>
            </a:pPr>
            <a:r>
              <a:rPr lang="en-US"/>
              <a:t>A higher resistance will result in a higher voltage and lower current.</a:t>
            </a:r>
          </a:p>
          <a:p>
            <a:pPr marL="768350" lvl="1" indent="-171450" algn="l">
              <a:buFont typeface="Arial" panose="020B0604020202020204" pitchFamily="34" charset="0"/>
              <a:buChar char="•"/>
            </a:pPr>
            <a:r>
              <a:rPr lang="en-US"/>
              <a:t>A lower resistance will result in a lower voltage and higher current.</a:t>
            </a:r>
          </a:p>
        </p:txBody>
      </p:sp>
      <p:graphicFrame>
        <p:nvGraphicFramePr>
          <p:cNvPr id="2" name="Google Shape;630;p38">
            <a:extLst>
              <a:ext uri="{FF2B5EF4-FFF2-40B4-BE49-F238E27FC236}">
                <a16:creationId xmlns:a16="http://schemas.microsoft.com/office/drawing/2014/main" id="{942E0C23-5C8E-E783-5BC2-6EAC927065EE}"/>
              </a:ext>
            </a:extLst>
          </p:cNvPr>
          <p:cNvGraphicFramePr/>
          <p:nvPr>
            <p:extLst>
              <p:ext uri="{D42A27DB-BD31-4B8C-83A1-F6EECF244321}">
                <p14:modId xmlns:p14="http://schemas.microsoft.com/office/powerpoint/2010/main" val="2479847035"/>
              </p:ext>
            </p:extLst>
          </p:nvPr>
        </p:nvGraphicFramePr>
        <p:xfrm>
          <a:off x="719138" y="1269423"/>
          <a:ext cx="5919009" cy="1686768"/>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Resistance (</a:t>
                      </a:r>
                      <a:r>
                        <a:rPr lang="el-GR" sz="1000" b="1">
                          <a:solidFill>
                            <a:schemeClr val="dk1"/>
                          </a:solidFill>
                          <a:latin typeface="Epilogue"/>
                          <a:ea typeface="Epilogue"/>
                          <a:cs typeface="Epilogue"/>
                          <a:sym typeface="Epilogue"/>
                        </a:rPr>
                        <a:t>Ω)</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I</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endParaRPr sz="1157" b="0"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682903827"/>
                  </a:ext>
                </a:extLst>
              </a:tr>
              <a:tr h="325711">
                <a:tc>
                  <a:txBody>
                    <a:bodyPr/>
                    <a:lstStyle/>
                    <a:p>
                      <a:pPr marL="0" lvl="0" indent="0" algn="ctr" rtl="0">
                        <a:lnSpc>
                          <a:spcPct val="115000"/>
                        </a:lnSpc>
                        <a:spcBef>
                          <a:spcPts val="0"/>
                        </a:spcBef>
                        <a:spcAft>
                          <a:spcPts val="0"/>
                        </a:spcAft>
                        <a:buNone/>
                      </a:pP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741295054"/>
                  </a:ext>
                </a:extLst>
              </a:tr>
            </a:tbl>
          </a:graphicData>
        </a:graphic>
      </p:graphicFrame>
      <p:sp>
        <p:nvSpPr>
          <p:cNvPr id="9" name="Untertitel 3">
            <a:extLst>
              <a:ext uri="{FF2B5EF4-FFF2-40B4-BE49-F238E27FC236}">
                <a16:creationId xmlns:a16="http://schemas.microsoft.com/office/drawing/2014/main" id="{500E2C3D-FB35-3C91-AD1C-CD984E8B1B78}"/>
              </a:ext>
            </a:extLst>
          </p:cNvPr>
          <p:cNvSpPr txBox="1">
            <a:spLocks/>
          </p:cNvSpPr>
          <p:nvPr/>
        </p:nvSpPr>
        <p:spPr>
          <a:xfrm>
            <a:off x="702621" y="3445148"/>
            <a:ext cx="5919009" cy="48012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Put the new points </a:t>
            </a:r>
            <a:r>
              <a:rPr lang="en-US" err="1"/>
              <a:t>Pnew</a:t>
            </a:r>
            <a:r>
              <a:rPr lang="en-US"/>
              <a:t> ( U | I ) in the graph you drew in the exercise before!!!</a:t>
            </a:r>
          </a:p>
        </p:txBody>
      </p:sp>
    </p:spTree>
    <p:extLst>
      <p:ext uri="{BB962C8B-B14F-4D97-AF65-F5344CB8AC3E}">
        <p14:creationId xmlns:p14="http://schemas.microsoft.com/office/powerpoint/2010/main" val="41157325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A545400-4315-41E4-FB5C-DD9C5DF790D2}"/>
              </a:ext>
            </a:extLst>
          </p:cNvPr>
          <p:cNvSpPr>
            <a:spLocks noGrp="1"/>
          </p:cNvSpPr>
          <p:nvPr>
            <p:ph type="sldNum" sz="quarter" idx="4"/>
          </p:nvPr>
        </p:nvSpPr>
        <p:spPr/>
        <p:txBody>
          <a:bodyPr/>
          <a:lstStyle/>
          <a:p>
            <a:fld id="{DF7F771E-9578-4C04-B869-01AF4C35C90C}" type="slidenum">
              <a:rPr lang="de-DE" smtClean="0"/>
              <a:t>52</a:t>
            </a:fld>
            <a:endParaRPr lang="de-DE"/>
          </a:p>
        </p:txBody>
      </p:sp>
      <p:sp>
        <p:nvSpPr>
          <p:cNvPr id="5" name="Untertitel 5">
            <a:extLst>
              <a:ext uri="{FF2B5EF4-FFF2-40B4-BE49-F238E27FC236}">
                <a16:creationId xmlns:a16="http://schemas.microsoft.com/office/drawing/2014/main" id="{3D84BA93-FEFA-78B7-48DF-B8484FE3359A}"/>
              </a:ext>
            </a:extLst>
          </p:cNvPr>
          <p:cNvSpPr txBox="1">
            <a:spLocks/>
          </p:cNvSpPr>
          <p:nvPr/>
        </p:nvSpPr>
        <p:spPr>
          <a:xfrm>
            <a:off x="1162734" y="276644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6" name="Ellipse 5">
            <a:extLst>
              <a:ext uri="{FF2B5EF4-FFF2-40B4-BE49-F238E27FC236}">
                <a16:creationId xmlns:a16="http://schemas.microsoft.com/office/drawing/2014/main" id="{5ED0CFE4-B73D-8177-C156-5032BD0245D8}"/>
              </a:ext>
            </a:extLst>
          </p:cNvPr>
          <p:cNvSpPr>
            <a:spLocks noChangeAspect="1"/>
          </p:cNvSpPr>
          <p:nvPr/>
        </p:nvSpPr>
        <p:spPr>
          <a:xfrm>
            <a:off x="744093" y="2760509"/>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descr="Skizze mit einfarbiger Füllung">
            <a:extLst>
              <a:ext uri="{FF2B5EF4-FFF2-40B4-BE49-F238E27FC236}">
                <a16:creationId xmlns:a16="http://schemas.microsoft.com/office/drawing/2014/main" id="{7267FFF7-728F-DE22-9DC9-D8B903C29C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570" y="2824241"/>
            <a:ext cx="379044" cy="379044"/>
          </a:xfrm>
          <a:prstGeom prst="rect">
            <a:avLst/>
          </a:prstGeom>
        </p:spPr>
      </p:pic>
      <p:sp>
        <p:nvSpPr>
          <p:cNvPr id="8" name="Untertitel 3">
            <a:extLst>
              <a:ext uri="{FF2B5EF4-FFF2-40B4-BE49-F238E27FC236}">
                <a16:creationId xmlns:a16="http://schemas.microsoft.com/office/drawing/2014/main" id="{51D7F54F-BA1B-ADB3-CCA3-992C03EE7864}"/>
              </a:ext>
            </a:extLst>
          </p:cNvPr>
          <p:cNvSpPr txBox="1">
            <a:spLocks/>
          </p:cNvSpPr>
          <p:nvPr/>
        </p:nvSpPr>
        <p:spPr>
          <a:xfrm>
            <a:off x="719138" y="3838943"/>
            <a:ext cx="5939919" cy="5699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11150" indent="-171450">
              <a:buFont typeface="Arial" panose="020B0604020202020204" pitchFamily="34" charset="0"/>
              <a:buChar char="•"/>
            </a:pPr>
            <a:r>
              <a:rPr lang="en-US"/>
              <a:t>Plot the different points you found in the graph. Connect the dots to draw a curve. </a:t>
            </a:r>
          </a:p>
          <a:p>
            <a:pPr marL="311150" indent="-171450">
              <a:buFont typeface="Arial" panose="020B0604020202020204" pitchFamily="34" charset="0"/>
              <a:buChar char="•"/>
            </a:pPr>
            <a:r>
              <a:rPr lang="en-US"/>
              <a:t>Can you find a Maximum?</a:t>
            </a:r>
          </a:p>
        </p:txBody>
      </p:sp>
      <p:sp>
        <p:nvSpPr>
          <p:cNvPr id="9" name="Untertitel 5">
            <a:extLst>
              <a:ext uri="{FF2B5EF4-FFF2-40B4-BE49-F238E27FC236}">
                <a16:creationId xmlns:a16="http://schemas.microsoft.com/office/drawing/2014/main" id="{9187511C-B5C6-2E5B-ACE8-B96AACB7FEEA}"/>
              </a:ext>
            </a:extLst>
          </p:cNvPr>
          <p:cNvSpPr txBox="1">
            <a:spLocks/>
          </p:cNvSpPr>
          <p:nvPr/>
        </p:nvSpPr>
        <p:spPr>
          <a:xfrm>
            <a:off x="719138" y="3412182"/>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1</a:t>
            </a:r>
          </a:p>
        </p:txBody>
      </p:sp>
      <p:pic>
        <p:nvPicPr>
          <p:cNvPr id="10" name="Grafik 9" descr="Ein Bild, das Muster, Reihe, Quadrat, Rechteck enthält.&#10;&#10;Automatisch generierte Beschreibung">
            <a:extLst>
              <a:ext uri="{FF2B5EF4-FFF2-40B4-BE49-F238E27FC236}">
                <a16:creationId xmlns:a16="http://schemas.microsoft.com/office/drawing/2014/main" id="{9FD83F6C-CCB1-E637-893A-7FFC8D972672}"/>
              </a:ext>
            </a:extLst>
          </p:cNvPr>
          <p:cNvPicPr>
            <a:picLocks noChangeAspect="1"/>
          </p:cNvPicPr>
          <p:nvPr/>
        </p:nvPicPr>
        <p:blipFill>
          <a:blip r:embed="rId4"/>
          <a:stretch>
            <a:fillRect/>
          </a:stretch>
        </p:blipFill>
        <p:spPr>
          <a:xfrm>
            <a:off x="1181417" y="4599627"/>
            <a:ext cx="5196840" cy="4457700"/>
          </a:xfrm>
          <a:prstGeom prst="rect">
            <a:avLst/>
          </a:prstGeom>
        </p:spPr>
      </p:pic>
      <p:graphicFrame>
        <p:nvGraphicFramePr>
          <p:cNvPr id="2" name="Google Shape;630;p38">
            <a:extLst>
              <a:ext uri="{FF2B5EF4-FFF2-40B4-BE49-F238E27FC236}">
                <a16:creationId xmlns:a16="http://schemas.microsoft.com/office/drawing/2014/main" id="{7AB588E7-4CA9-C8D1-D62E-D7685BC408A1}"/>
              </a:ext>
            </a:extLst>
          </p:cNvPr>
          <p:cNvGraphicFramePr/>
          <p:nvPr>
            <p:extLst>
              <p:ext uri="{D42A27DB-BD31-4B8C-83A1-F6EECF244321}">
                <p14:modId xmlns:p14="http://schemas.microsoft.com/office/powerpoint/2010/main" val="920560201"/>
              </p:ext>
            </p:extLst>
          </p:nvPr>
        </p:nvGraphicFramePr>
        <p:xfrm>
          <a:off x="719138" y="1267162"/>
          <a:ext cx="5919009" cy="1035346"/>
        </p:xfrm>
        <a:graphic>
          <a:graphicData uri="http://schemas.openxmlformats.org/drawingml/2006/table">
            <a:tbl>
              <a:tblPr>
                <a:noFill/>
                <a:tableStyleId>{F0CFADBD-3245-443C-9B6D-9ACBA4CA32A5}</a:tableStyleId>
              </a:tblPr>
              <a:tblGrid>
                <a:gridCol w="2015673">
                  <a:extLst>
                    <a:ext uri="{9D8B030D-6E8A-4147-A177-3AD203B41FA5}">
                      <a16:colId xmlns:a16="http://schemas.microsoft.com/office/drawing/2014/main" val="20000"/>
                    </a:ext>
                  </a:extLst>
                </a:gridCol>
                <a:gridCol w="1808935">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igh </a:t>
                      </a:r>
                      <a:r>
                        <a:rPr lang="de-DE" sz="1157" b="1" i="0" u="none" strike="noStrike" cap="none" err="1">
                          <a:solidFill>
                            <a:srgbClr val="000000"/>
                          </a:solidFill>
                          <a:effectLst/>
                          <a:latin typeface="Arial"/>
                          <a:ea typeface="Epilogue"/>
                          <a:cs typeface="Arial"/>
                          <a:sym typeface="Epilogue"/>
                        </a:rPr>
                        <a:t>resistance</a:t>
                      </a:r>
                      <a:endParaRPr sz="1157" b="1" i="0" u="none" strike="noStrike" cap="none">
                        <a:solidFill>
                          <a:srgbClr val="000000"/>
                        </a:solidFill>
                        <a:effectLst/>
                        <a:latin typeface="Arial"/>
                        <a:ea typeface="Epilogue"/>
                        <a:cs typeface="Arial"/>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0" i="0" u="none" strike="noStrike" cap="none">
                          <a:solidFill>
                            <a:srgbClr val="000000"/>
                          </a:solidFill>
                          <a:effectLst/>
                          <a:latin typeface="Arial"/>
                          <a:ea typeface="Epilogue"/>
                          <a:cs typeface="Arial"/>
                          <a:sym typeface="Epilogue"/>
                        </a:rPr>
                        <a:t>Low </a:t>
                      </a:r>
                      <a:r>
                        <a:rPr lang="de-DE" sz="1157" b="0" i="0" u="none" strike="noStrike" cap="none" err="1">
                          <a:solidFill>
                            <a:srgbClr val="000000"/>
                          </a:solidFill>
                          <a:effectLst/>
                          <a:latin typeface="Arial"/>
                          <a:ea typeface="Epilogue"/>
                          <a:cs typeface="Arial"/>
                          <a:sym typeface="Epilogue"/>
                        </a:rPr>
                        <a:t>Current</a:t>
                      </a:r>
                      <a:endParaRPr sz="1157" b="0" i="0" u="none" strike="noStrike" cap="none">
                        <a:solidFill>
                          <a:srgbClr val="000000"/>
                        </a:solidFill>
                        <a:effectLst/>
                        <a:latin typeface="Arial"/>
                        <a:ea typeface="Epilogue"/>
                        <a:cs typeface="Arial"/>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0" i="0" u="none" strike="noStrike" cap="none">
                          <a:solidFill>
                            <a:srgbClr val="000000"/>
                          </a:solidFill>
                          <a:effectLst/>
                          <a:latin typeface="Arial"/>
                          <a:ea typeface="Epilogue"/>
                          <a:cs typeface="Arial"/>
                          <a:sym typeface="Epilogue"/>
                        </a:rPr>
                        <a:t>High </a:t>
                      </a:r>
                      <a:r>
                        <a:rPr lang="de-DE" sz="1157" b="0" i="0" u="none" strike="noStrike" cap="none" err="1">
                          <a:solidFill>
                            <a:srgbClr val="000000"/>
                          </a:solidFill>
                          <a:effectLst/>
                          <a:latin typeface="Arial"/>
                          <a:ea typeface="Epilogue"/>
                          <a:cs typeface="Arial"/>
                          <a:sym typeface="Epilogue"/>
                        </a:rPr>
                        <a:t>voltage</a:t>
                      </a:r>
                      <a:endParaRPr sz="1157" b="0" i="0" u="none" strike="noStrike" cap="none">
                        <a:solidFill>
                          <a:srgbClr val="000000"/>
                        </a:solidFill>
                        <a:effectLst/>
                        <a:latin typeface="Arial"/>
                        <a:ea typeface="Epilogue"/>
                        <a:cs typeface="Arial"/>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157" b="1" i="0" u="none" strike="noStrike" cap="none">
                          <a:solidFill>
                            <a:srgbClr val="000000"/>
                          </a:solidFill>
                          <a:effectLst/>
                          <a:latin typeface="Arial"/>
                          <a:ea typeface="Sofia Sans"/>
                          <a:cs typeface="Arial"/>
                          <a:sym typeface="Sofia Sans"/>
                        </a:rPr>
                        <a:t>Low Resistance</a:t>
                      </a: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0" i="0" u="none" strike="noStrike" cap="none">
                          <a:solidFill>
                            <a:srgbClr val="000000"/>
                          </a:solidFill>
                          <a:effectLst/>
                          <a:latin typeface="Arial"/>
                          <a:ea typeface="Sofia Sans"/>
                          <a:cs typeface="Arial"/>
                          <a:sym typeface="Sofia Sans"/>
                        </a:rPr>
                        <a:t>High </a:t>
                      </a:r>
                      <a:r>
                        <a:rPr lang="de-DE" sz="1157" b="0" i="0" u="none" strike="noStrike" cap="none" err="1">
                          <a:solidFill>
                            <a:srgbClr val="000000"/>
                          </a:solidFill>
                          <a:effectLst/>
                          <a:latin typeface="Arial"/>
                          <a:ea typeface="Sofia Sans"/>
                          <a:cs typeface="Arial"/>
                          <a:sym typeface="Sofia Sans"/>
                        </a:rPr>
                        <a:t>current</a:t>
                      </a: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0" i="0" u="none" strike="noStrike" cap="none">
                          <a:solidFill>
                            <a:srgbClr val="000000"/>
                          </a:solidFill>
                          <a:effectLst/>
                          <a:latin typeface="Arial"/>
                          <a:ea typeface="Sofia Sans"/>
                          <a:cs typeface="Arial"/>
                          <a:sym typeface="Sofia Sans"/>
                        </a:rPr>
                        <a:t>Low </a:t>
                      </a:r>
                      <a:r>
                        <a:rPr lang="de-DE" sz="1157" b="0" i="0" u="none" strike="noStrike" cap="none" err="1">
                          <a:solidFill>
                            <a:srgbClr val="000000"/>
                          </a:solidFill>
                          <a:effectLst/>
                          <a:latin typeface="Arial"/>
                          <a:ea typeface="Sofia Sans"/>
                          <a:cs typeface="Arial"/>
                          <a:sym typeface="Sofia Sans"/>
                        </a:rPr>
                        <a:t>voltage</a:t>
                      </a: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Sofia Sans"/>
                          <a:cs typeface="Arial"/>
                          <a:sym typeface="Sofia Sans"/>
                        </a:rPr>
                        <a:t>Intermediate Resistance</a:t>
                      </a: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gridSpan="2">
                  <a:txBody>
                    <a:bodyPr/>
                    <a:lstStyle/>
                    <a:p>
                      <a:pPr marL="0" marR="0" lvl="0" indent="0" algn="ctr" rtl="0">
                        <a:lnSpc>
                          <a:spcPct val="115000"/>
                        </a:lnSpc>
                        <a:spcBef>
                          <a:spcPts val="0"/>
                        </a:spcBef>
                        <a:spcAft>
                          <a:spcPts val="0"/>
                        </a:spcAft>
                        <a:buClr>
                          <a:srgbClr val="000000"/>
                        </a:buClr>
                        <a:buFont typeface="Arial"/>
                        <a:buNone/>
                      </a:pPr>
                      <a:r>
                        <a:rPr lang="en-US" sz="1157" b="0" i="0" u="none" strike="noStrike" cap="none">
                          <a:solidFill>
                            <a:srgbClr val="000000"/>
                          </a:solidFill>
                          <a:effectLst/>
                          <a:latin typeface="Arial"/>
                          <a:ea typeface="Sofia Sans"/>
                          <a:cs typeface="Arial"/>
                          <a:sym typeface="Sofia Sans"/>
                        </a:rPr>
                        <a:t>Balanced point somewhere between </a:t>
                      </a:r>
                      <a:r>
                        <a:rPr lang="en-US" sz="1157" b="0" i="0" u="none" strike="noStrike" cap="none" err="1">
                          <a:solidFill>
                            <a:srgbClr val="000000"/>
                          </a:solidFill>
                          <a:effectLst/>
                          <a:latin typeface="Arial"/>
                          <a:ea typeface="Sofia Sans"/>
                          <a:cs typeface="Arial"/>
                          <a:sym typeface="Sofia Sans"/>
                        </a:rPr>
                        <a:t>Voc</a:t>
                      </a:r>
                      <a:r>
                        <a:rPr lang="en-US" sz="1157" b="0" i="0" u="none" strike="noStrike" cap="none">
                          <a:solidFill>
                            <a:srgbClr val="000000"/>
                          </a:solidFill>
                          <a:effectLst/>
                          <a:latin typeface="Arial"/>
                          <a:ea typeface="Sofia Sans"/>
                          <a:cs typeface="Arial"/>
                          <a:sym typeface="Sofia Sans"/>
                        </a:rPr>
                        <a:t> and </a:t>
                      </a:r>
                      <a:r>
                        <a:rPr lang="en-US" sz="1157" b="0" i="0" u="none" strike="noStrike" cap="none" err="1">
                          <a:solidFill>
                            <a:srgbClr val="000000"/>
                          </a:solidFill>
                          <a:effectLst/>
                          <a:latin typeface="Arial"/>
                          <a:ea typeface="Sofia Sans"/>
                          <a:cs typeface="Arial"/>
                          <a:sym typeface="Sofia Sans"/>
                        </a:rPr>
                        <a:t>Isc</a:t>
                      </a: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hMerge="1">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bl>
          </a:graphicData>
        </a:graphic>
      </p:graphicFrame>
      <p:cxnSp>
        <p:nvCxnSpPr>
          <p:cNvPr id="3" name="Gerade Verbindung mit Pfeil 2">
            <a:extLst>
              <a:ext uri="{FF2B5EF4-FFF2-40B4-BE49-F238E27FC236}">
                <a16:creationId xmlns:a16="http://schemas.microsoft.com/office/drawing/2014/main" id="{0A2F767F-2069-80EA-A937-EC7E32528839}"/>
              </a:ext>
            </a:extLst>
          </p:cNvPr>
          <p:cNvCxnSpPr>
            <a:cxnSpLocks/>
          </p:cNvCxnSpPr>
          <p:nvPr/>
        </p:nvCxnSpPr>
        <p:spPr>
          <a:xfrm flipV="1">
            <a:off x="1602377" y="5088666"/>
            <a:ext cx="0" cy="32831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F0B28B5C-8958-0F55-1AD0-C5E8469CDA46}"/>
              </a:ext>
            </a:extLst>
          </p:cNvPr>
          <p:cNvCxnSpPr>
            <a:cxnSpLocks/>
          </p:cNvCxnSpPr>
          <p:nvPr/>
        </p:nvCxnSpPr>
        <p:spPr>
          <a:xfrm>
            <a:off x="1381314" y="8141019"/>
            <a:ext cx="4447701"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hteck 11">
            <a:extLst>
              <a:ext uri="{FF2B5EF4-FFF2-40B4-BE49-F238E27FC236}">
                <a16:creationId xmlns:a16="http://schemas.microsoft.com/office/drawing/2014/main" id="{9AD272B9-23FF-1EB4-0AC7-2EC67DD2F73A}"/>
              </a:ext>
            </a:extLst>
          </p:cNvPr>
          <p:cNvSpPr/>
          <p:nvPr/>
        </p:nvSpPr>
        <p:spPr>
          <a:xfrm>
            <a:off x="1015319" y="4696590"/>
            <a:ext cx="797839" cy="8007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rPr>
              <a:t>y</a:t>
            </a:r>
          </a:p>
        </p:txBody>
      </p:sp>
      <p:sp>
        <p:nvSpPr>
          <p:cNvPr id="13" name="Rechteck 12">
            <a:extLst>
              <a:ext uri="{FF2B5EF4-FFF2-40B4-BE49-F238E27FC236}">
                <a16:creationId xmlns:a16="http://schemas.microsoft.com/office/drawing/2014/main" id="{4E4749EC-4BBA-1B58-BE84-81C4F2F7DDC7}"/>
              </a:ext>
            </a:extLst>
          </p:cNvPr>
          <p:cNvSpPr/>
          <p:nvPr/>
        </p:nvSpPr>
        <p:spPr>
          <a:xfrm>
            <a:off x="5397170" y="7970363"/>
            <a:ext cx="797839" cy="8007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rPr>
              <a:t>x</a:t>
            </a:r>
          </a:p>
        </p:txBody>
      </p:sp>
    </p:spTree>
    <p:extLst>
      <p:ext uri="{BB962C8B-B14F-4D97-AF65-F5344CB8AC3E}">
        <p14:creationId xmlns:p14="http://schemas.microsoft.com/office/powerpoint/2010/main" val="26541863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1B32D40-132C-ACEC-A7E9-9D8630D4E82D}"/>
              </a:ext>
            </a:extLst>
          </p:cNvPr>
          <p:cNvSpPr>
            <a:spLocks noGrp="1"/>
          </p:cNvSpPr>
          <p:nvPr>
            <p:ph type="sldNum" sz="quarter" idx="4"/>
          </p:nvPr>
        </p:nvSpPr>
        <p:spPr/>
        <p:txBody>
          <a:bodyPr/>
          <a:lstStyle/>
          <a:p>
            <a:fld id="{DF7F771E-9578-4C04-B869-01AF4C35C90C}" type="slidenum">
              <a:rPr lang="de-DE" smtClean="0"/>
              <a:t>53</a:t>
            </a:fld>
            <a:endParaRPr lang="de-DE"/>
          </a:p>
        </p:txBody>
      </p:sp>
      <p:sp>
        <p:nvSpPr>
          <p:cNvPr id="6" name="Rechteck 5">
            <a:extLst>
              <a:ext uri="{FF2B5EF4-FFF2-40B4-BE49-F238E27FC236}">
                <a16:creationId xmlns:a16="http://schemas.microsoft.com/office/drawing/2014/main" id="{0A47C708-E4CE-9673-B7B7-6A6E118FA842}"/>
              </a:ext>
            </a:extLst>
          </p:cNvPr>
          <p:cNvSpPr/>
          <p:nvPr/>
        </p:nvSpPr>
        <p:spPr>
          <a:xfrm>
            <a:off x="719138" y="1596647"/>
            <a:ext cx="5740172" cy="3159911"/>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9CEA84CF-6F4D-D56B-835D-830C01DCD24A}"/>
              </a:ext>
            </a:extLst>
          </p:cNvPr>
          <p:cNvSpPr>
            <a:spLocks noChangeAspect="1"/>
          </p:cNvSpPr>
          <p:nvPr/>
        </p:nvSpPr>
        <p:spPr>
          <a:xfrm>
            <a:off x="6128978" y="1277938"/>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descr="Lesezeichen mit einfarbiger Füllung">
            <a:extLst>
              <a:ext uri="{FF2B5EF4-FFF2-40B4-BE49-F238E27FC236}">
                <a16:creationId xmlns:a16="http://schemas.microsoft.com/office/drawing/2014/main" id="{587C61FD-0315-63CB-2B85-B812D68EF1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1405785"/>
            <a:ext cx="404450" cy="404450"/>
          </a:xfrm>
          <a:prstGeom prst="rect">
            <a:avLst/>
          </a:prstGeom>
        </p:spPr>
      </p:pic>
      <p:sp>
        <p:nvSpPr>
          <p:cNvPr id="9" name="Untertitel 5">
            <a:extLst>
              <a:ext uri="{FF2B5EF4-FFF2-40B4-BE49-F238E27FC236}">
                <a16:creationId xmlns:a16="http://schemas.microsoft.com/office/drawing/2014/main" id="{E4E1946A-CDC7-1DB6-2A41-C143F4A9F503}"/>
              </a:ext>
            </a:extLst>
          </p:cNvPr>
          <p:cNvSpPr txBox="1">
            <a:spLocks/>
          </p:cNvSpPr>
          <p:nvPr/>
        </p:nvSpPr>
        <p:spPr>
          <a:xfrm>
            <a:off x="894164" y="169627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10" name="Untertitel 2">
            <a:extLst>
              <a:ext uri="{FF2B5EF4-FFF2-40B4-BE49-F238E27FC236}">
                <a16:creationId xmlns:a16="http://schemas.microsoft.com/office/drawing/2014/main" id="{EFE2CA1A-8B36-B2A1-5A2A-0E8CC9646B5A}"/>
              </a:ext>
            </a:extLst>
          </p:cNvPr>
          <p:cNvSpPr txBox="1">
            <a:spLocks/>
          </p:cNvSpPr>
          <p:nvPr/>
        </p:nvSpPr>
        <p:spPr>
          <a:xfrm>
            <a:off x="1103983" y="2189701"/>
            <a:ext cx="4979684" cy="239068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At very high resistance, current drops close to zero, placing the operating point at the open-circuit voltage (</a:t>
            </a:r>
            <a:r>
              <a:rPr lang="en-US" err="1">
                <a:latin typeface="Sofia Sans" panose="020B0604020202020204" charset="0"/>
              </a:rPr>
              <a:t>Voc</a:t>
            </a:r>
            <a:r>
              <a:rPr lang="en-US">
                <a:latin typeface="Sofia Sans" panose="020B0604020202020204" charset="0"/>
              </a:rPr>
              <a:t>), which is the maximum voltage output of the PV module.</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With very low resistance, voltage nears zero, shifting the operating point to the short-circuit current (</a:t>
            </a:r>
            <a:r>
              <a:rPr lang="en-US" err="1">
                <a:latin typeface="Sofia Sans" panose="020B0604020202020204" charset="0"/>
              </a:rPr>
              <a:t>Isc</a:t>
            </a:r>
            <a:r>
              <a:rPr lang="en-US">
                <a:latin typeface="Sofia Sans" panose="020B0604020202020204" charset="0"/>
              </a:rPr>
              <a:t>), the maximum current the PV module can produce.</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onnecting a resistor sets the operating point to intermediate levels on the V-I curve. The specific voltage and current values depend on the resistance level; higher resistance yields higher voltage and lower current, while lower resistance leads to lower voltage and higher current.</a:t>
            </a:r>
          </a:p>
        </p:txBody>
      </p:sp>
    </p:spTree>
    <p:extLst>
      <p:ext uri="{BB962C8B-B14F-4D97-AF65-F5344CB8AC3E}">
        <p14:creationId xmlns:p14="http://schemas.microsoft.com/office/powerpoint/2010/main" val="9152078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F21D3631-F71B-6773-EA51-52F959293E5E}"/>
              </a:ext>
            </a:extLst>
          </p:cNvPr>
          <p:cNvSpPr>
            <a:spLocks noGrp="1"/>
          </p:cNvSpPr>
          <p:nvPr>
            <p:ph type="sldNum" sz="quarter" idx="16"/>
          </p:nvPr>
        </p:nvSpPr>
        <p:spPr/>
        <p:txBody>
          <a:bodyPr/>
          <a:lstStyle/>
          <a:p>
            <a:fld id="{DF7F771E-9578-4C04-B869-01AF4C35C90C}" type="slidenum">
              <a:rPr lang="de-DE" smtClean="0"/>
              <a:t>54</a:t>
            </a:fld>
            <a:endParaRPr lang="de-DE"/>
          </a:p>
        </p:txBody>
      </p:sp>
      <p:sp>
        <p:nvSpPr>
          <p:cNvPr id="16" name="Titel 1">
            <a:extLst>
              <a:ext uri="{FF2B5EF4-FFF2-40B4-BE49-F238E27FC236}">
                <a16:creationId xmlns:a16="http://schemas.microsoft.com/office/drawing/2014/main" id="{B84495E5-0478-C609-8C5F-024289A7FA6D}"/>
              </a:ext>
            </a:extLst>
          </p:cNvPr>
          <p:cNvSpPr>
            <a:spLocks noGrp="1"/>
          </p:cNvSpPr>
          <p:nvPr>
            <p:ph type="title"/>
          </p:nvPr>
        </p:nvSpPr>
        <p:spPr>
          <a:xfrm>
            <a:off x="589649" y="1121461"/>
            <a:ext cx="6380336" cy="636036"/>
          </a:xfrm>
        </p:spPr>
        <p:txBody>
          <a:bodyPr/>
          <a:lstStyle/>
          <a:p>
            <a:r>
              <a:rPr lang="de-DE"/>
              <a:t>5. </a:t>
            </a:r>
            <a:r>
              <a:rPr lang="de-DE" err="1"/>
              <a:t>Local</a:t>
            </a:r>
            <a:r>
              <a:rPr lang="de-DE"/>
              <a:t> </a:t>
            </a:r>
            <a:r>
              <a:rPr lang="de-DE" err="1"/>
              <a:t>conditions</a:t>
            </a:r>
            <a:r>
              <a:rPr lang="de-DE"/>
              <a:t> and </a:t>
            </a:r>
            <a:r>
              <a:rPr lang="de-DE" err="1"/>
              <a:t>load</a:t>
            </a:r>
            <a:r>
              <a:rPr lang="de-DE"/>
              <a:t> </a:t>
            </a:r>
            <a:r>
              <a:rPr lang="de-DE" err="1"/>
              <a:t>changes</a:t>
            </a:r>
            <a:endParaRPr lang="de-DE"/>
          </a:p>
        </p:txBody>
      </p:sp>
      <p:sp>
        <p:nvSpPr>
          <p:cNvPr id="3" name="Untertitel 5">
            <a:extLst>
              <a:ext uri="{FF2B5EF4-FFF2-40B4-BE49-F238E27FC236}">
                <a16:creationId xmlns:a16="http://schemas.microsoft.com/office/drawing/2014/main" id="{DBE2FD19-ADFD-C12C-4521-9243830A585E}"/>
              </a:ext>
            </a:extLst>
          </p:cNvPr>
          <p:cNvSpPr txBox="1">
            <a:spLocks/>
          </p:cNvSpPr>
          <p:nvPr/>
        </p:nvSpPr>
        <p:spPr>
          <a:xfrm>
            <a:off x="1093303" y="2518606"/>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4" name="Ellipse 3">
            <a:extLst>
              <a:ext uri="{FF2B5EF4-FFF2-40B4-BE49-F238E27FC236}">
                <a16:creationId xmlns:a16="http://schemas.microsoft.com/office/drawing/2014/main" id="{D97AB7EB-B703-19DF-0710-11C38B349DE6}"/>
              </a:ext>
            </a:extLst>
          </p:cNvPr>
          <p:cNvSpPr>
            <a:spLocks noChangeAspect="1"/>
          </p:cNvSpPr>
          <p:nvPr/>
        </p:nvSpPr>
        <p:spPr>
          <a:xfrm>
            <a:off x="719139" y="2489111"/>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Lupe mit einfarbiger Füllung">
            <a:extLst>
              <a:ext uri="{FF2B5EF4-FFF2-40B4-BE49-F238E27FC236}">
                <a16:creationId xmlns:a16="http://schemas.microsoft.com/office/drawing/2014/main" id="{677F985B-74BF-0EE3-6BAB-D9910A0C75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7212" y="2552791"/>
            <a:ext cx="333865" cy="333865"/>
          </a:xfrm>
          <a:prstGeom prst="rect">
            <a:avLst/>
          </a:prstGeom>
        </p:spPr>
      </p:pic>
      <p:sp>
        <p:nvSpPr>
          <p:cNvPr id="6" name="Untertitel 3">
            <a:extLst>
              <a:ext uri="{FF2B5EF4-FFF2-40B4-BE49-F238E27FC236}">
                <a16:creationId xmlns:a16="http://schemas.microsoft.com/office/drawing/2014/main" id="{E7F250A4-53D6-F63E-FC1D-603FBF0E1DFE}"/>
              </a:ext>
            </a:extLst>
          </p:cNvPr>
          <p:cNvSpPr txBox="1">
            <a:spLocks/>
          </p:cNvSpPr>
          <p:nvPr/>
        </p:nvSpPr>
        <p:spPr>
          <a:xfrm>
            <a:off x="735918" y="5893827"/>
            <a:ext cx="5919009" cy="134683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a:t>Follow these steps to conduct the experiment:</a:t>
            </a:r>
          </a:p>
          <a:p>
            <a:pPr>
              <a:buFont typeface="+mj-lt"/>
              <a:buAutoNum type="arabicPeriod"/>
            </a:pPr>
            <a:r>
              <a:rPr lang="en-US"/>
              <a:t>Now put the lamp at a distance of 20cm </a:t>
            </a:r>
          </a:p>
          <a:p>
            <a:pPr>
              <a:buFont typeface="+mj-lt"/>
              <a:buAutoNum type="arabicPeriod"/>
            </a:pPr>
            <a:r>
              <a:rPr lang="en-US"/>
              <a:t>Measure the open circuit voltage and the short circuit current again</a:t>
            </a:r>
          </a:p>
          <a:p>
            <a:pPr>
              <a:buFont typeface="+mj-lt"/>
              <a:buAutoNum type="arabicPeriod"/>
            </a:pPr>
            <a:r>
              <a:rPr lang="en-US"/>
              <a:t>Connect the changing load</a:t>
            </a:r>
          </a:p>
          <a:p>
            <a:pPr>
              <a:buFont typeface="+mj-lt"/>
              <a:buAutoNum type="arabicPeriod"/>
            </a:pPr>
            <a:r>
              <a:rPr lang="en-US"/>
              <a:t>Measure the voltage and the current again for the different loads</a:t>
            </a:r>
          </a:p>
        </p:txBody>
      </p:sp>
      <p:graphicFrame>
        <p:nvGraphicFramePr>
          <p:cNvPr id="7" name="Google Shape;630;p38">
            <a:extLst>
              <a:ext uri="{FF2B5EF4-FFF2-40B4-BE49-F238E27FC236}">
                <a16:creationId xmlns:a16="http://schemas.microsoft.com/office/drawing/2014/main" id="{76CFCDC6-49BF-E665-574C-86D280C38A23}"/>
              </a:ext>
            </a:extLst>
          </p:cNvPr>
          <p:cNvGraphicFramePr/>
          <p:nvPr>
            <p:extLst>
              <p:ext uri="{D42A27DB-BD31-4B8C-83A1-F6EECF244321}">
                <p14:modId xmlns:p14="http://schemas.microsoft.com/office/powerpoint/2010/main" val="2717642785"/>
              </p:ext>
            </p:extLst>
          </p:nvPr>
        </p:nvGraphicFramePr>
        <p:xfrm>
          <a:off x="719138" y="7322155"/>
          <a:ext cx="5919009" cy="1686768"/>
        </p:xfrm>
        <a:graphic>
          <a:graphicData uri="http://schemas.openxmlformats.org/drawingml/2006/table">
            <a:tbl>
              <a:tblPr>
                <a:noFill/>
                <a:tableStyleId>{F0CFADBD-3245-443C-9B6D-9ACBA4CA32A5}</a:tableStyleId>
              </a:tblPr>
              <a:tblGrid>
                <a:gridCol w="1730207">
                  <a:extLst>
                    <a:ext uri="{9D8B030D-6E8A-4147-A177-3AD203B41FA5}">
                      <a16:colId xmlns:a16="http://schemas.microsoft.com/office/drawing/2014/main" val="20000"/>
                    </a:ext>
                  </a:extLst>
                </a:gridCol>
                <a:gridCol w="2094401">
                  <a:extLst>
                    <a:ext uri="{9D8B030D-6E8A-4147-A177-3AD203B41FA5}">
                      <a16:colId xmlns:a16="http://schemas.microsoft.com/office/drawing/2014/main" val="20001"/>
                    </a:ext>
                  </a:extLst>
                </a:gridCol>
                <a:gridCol w="2094401">
                  <a:extLst>
                    <a:ext uri="{9D8B030D-6E8A-4147-A177-3AD203B41FA5}">
                      <a16:colId xmlns:a16="http://schemas.microsoft.com/office/drawing/2014/main" val="20002"/>
                    </a:ext>
                  </a:extLst>
                </a:gridCol>
              </a:tblGrid>
              <a:tr h="363822">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Resistance (</a:t>
                      </a:r>
                      <a:r>
                        <a:rPr lang="el-GR" sz="1000" b="1">
                          <a:solidFill>
                            <a:schemeClr val="dk1"/>
                          </a:solidFill>
                          <a:latin typeface="Epilogue"/>
                          <a:ea typeface="Epilogue"/>
                          <a:cs typeface="Epilogue"/>
                          <a:sym typeface="Epilogue"/>
                        </a:rPr>
                        <a:t>Ω)</a:t>
                      </a:r>
                      <a:endParaRPr sz="1000" b="1">
                        <a:solidFill>
                          <a:schemeClr val="dk1"/>
                        </a:solidFill>
                        <a:latin typeface="Epilogue"/>
                        <a:ea typeface="Epilogue"/>
                        <a:cs typeface="Epilogue"/>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U</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r>
                        <a:rPr lang="de-DE" sz="1000" b="1">
                          <a:solidFill>
                            <a:schemeClr val="dk1"/>
                          </a:solidFill>
                          <a:latin typeface="Epilogue"/>
                          <a:ea typeface="Epilogue"/>
                          <a:cs typeface="Epilogue"/>
                          <a:sym typeface="Epilogue"/>
                        </a:rPr>
                        <a:t>I</a:t>
                      </a:r>
                      <a:endParaRPr sz="1000" b="1">
                        <a:solidFill>
                          <a:schemeClr val="dk1"/>
                        </a:solidFill>
                        <a:latin typeface="Epilogue"/>
                        <a:ea typeface="Epilogue"/>
                        <a:cs typeface="Epilogue"/>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345813">
                <a:tc>
                  <a:txBody>
                    <a:bodyPr/>
                    <a:lstStyle/>
                    <a:p>
                      <a:pPr marL="0" lvl="0" indent="0" algn="ctr" rtl="0">
                        <a:lnSpc>
                          <a:spcPct val="115000"/>
                        </a:lnSpc>
                        <a:spcBef>
                          <a:spcPts val="0"/>
                        </a:spcBef>
                        <a:spcAft>
                          <a:spcPts val="0"/>
                        </a:spcAft>
                        <a:buNone/>
                      </a:pPr>
                      <a:r>
                        <a:rPr lang="de-DE" sz="1157" b="0" i="0" u="none" strike="noStrike" cap="none">
                          <a:solidFill>
                            <a:srgbClr val="000000"/>
                          </a:solidFill>
                          <a:effectLst/>
                          <a:latin typeface="Arial"/>
                          <a:ea typeface="Sofia Sans"/>
                          <a:cs typeface="Arial"/>
                          <a:sym typeface="Sofia Sans"/>
                        </a:rPr>
                        <a:t>0</a:t>
                      </a:r>
                      <a:endParaRPr sz="1157" b="0"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r h="325711">
                <a:tc>
                  <a:txBody>
                    <a:bodyPr/>
                    <a:lstStyle/>
                    <a:p>
                      <a:pPr marL="0" lvl="0" indent="0" algn="ctr" rtl="0">
                        <a:lnSpc>
                          <a:spcPct val="115000"/>
                        </a:lnSpc>
                        <a:spcBef>
                          <a:spcPts val="0"/>
                        </a:spcBef>
                        <a:spcAft>
                          <a:spcPts val="0"/>
                        </a:spcAft>
                        <a:buNone/>
                      </a:pP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2"/>
                  </a:ext>
                </a:extLst>
              </a:tr>
              <a:tr h="325711">
                <a:tc>
                  <a:txBody>
                    <a:bodyPr/>
                    <a:lstStyle/>
                    <a:p>
                      <a:pPr marL="0" lvl="0" indent="0" algn="ctr" rtl="0">
                        <a:lnSpc>
                          <a:spcPct val="115000"/>
                        </a:lnSpc>
                        <a:spcBef>
                          <a:spcPts val="0"/>
                        </a:spcBef>
                        <a:spcAft>
                          <a:spcPts val="0"/>
                        </a:spcAft>
                        <a:buNone/>
                      </a:pP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2682903827"/>
                  </a:ext>
                </a:extLst>
              </a:tr>
              <a:tr h="325711">
                <a:tc>
                  <a:txBody>
                    <a:bodyPr/>
                    <a:lstStyle/>
                    <a:p>
                      <a:pPr marL="0" lvl="0" indent="0" algn="ctr" rtl="0">
                        <a:lnSpc>
                          <a:spcPct val="115000"/>
                        </a:lnSpc>
                        <a:spcBef>
                          <a:spcPts val="0"/>
                        </a:spcBef>
                        <a:spcAft>
                          <a:spcPts val="0"/>
                        </a:spcAft>
                        <a:buNone/>
                      </a:pPr>
                      <a:endParaRPr sz="1000" b="1">
                        <a:solidFill>
                          <a:schemeClr val="dk1"/>
                        </a:solidFill>
                        <a:latin typeface="Sofia Sans"/>
                        <a:ea typeface="Sofia Sans"/>
                        <a:cs typeface="Sofia Sans"/>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tc>
                  <a:txBody>
                    <a:bodyPr/>
                    <a:lstStyle/>
                    <a:p>
                      <a:pPr marL="0" lvl="0" indent="0" algn="ctr" rtl="0">
                        <a:lnSpc>
                          <a:spcPct val="115000"/>
                        </a:lnSpc>
                        <a:spcBef>
                          <a:spcPts val="0"/>
                        </a:spcBef>
                        <a:spcAft>
                          <a:spcPts val="0"/>
                        </a:spcAft>
                        <a:buNone/>
                      </a:pPr>
                      <a:endParaRPr sz="1000">
                        <a:solidFill>
                          <a:schemeClr val="dk1"/>
                        </a:solidFill>
                        <a:latin typeface="Sofia Sans"/>
                        <a:ea typeface="Sofia Sans"/>
                        <a:cs typeface="Sofia Sans"/>
                        <a:sym typeface="Sofia Sans"/>
                      </a:endParaRPr>
                    </a:p>
                  </a:txBody>
                  <a:tcPr marL="0" marR="0" marT="0" marB="0" anchor="ctr">
                    <a:lnL w="9525" cap="flat" cmpd="sng" algn="ctr">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solidFill>
                        <a:schemeClr val="dk1"/>
                      </a:solidFill>
                      <a:prstDash val="dash"/>
                      <a:round/>
                      <a:headEnd type="none" w="sm" len="sm"/>
                      <a:tailEnd type="none" w="sm" len="sm"/>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3741295054"/>
                  </a:ext>
                </a:extLst>
              </a:tr>
            </a:tbl>
          </a:graphicData>
        </a:graphic>
      </p:graphicFrame>
      <p:sp>
        <p:nvSpPr>
          <p:cNvPr id="8" name="Rechteck 7">
            <a:extLst>
              <a:ext uri="{FF2B5EF4-FFF2-40B4-BE49-F238E27FC236}">
                <a16:creationId xmlns:a16="http://schemas.microsoft.com/office/drawing/2014/main" id="{F9BC6304-0519-C7EF-302F-D7C78F103E4A}"/>
              </a:ext>
            </a:extLst>
          </p:cNvPr>
          <p:cNvSpPr/>
          <p:nvPr/>
        </p:nvSpPr>
        <p:spPr>
          <a:xfrm>
            <a:off x="735918" y="3289871"/>
            <a:ext cx="5740172" cy="2251332"/>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Untertitel 2">
            <a:extLst>
              <a:ext uri="{FF2B5EF4-FFF2-40B4-BE49-F238E27FC236}">
                <a16:creationId xmlns:a16="http://schemas.microsoft.com/office/drawing/2014/main" id="{EF9CA489-74DC-BB32-1A72-98418B9A86AA}"/>
              </a:ext>
            </a:extLst>
          </p:cNvPr>
          <p:cNvSpPr txBox="1">
            <a:spLocks/>
          </p:cNvSpPr>
          <p:nvPr/>
        </p:nvSpPr>
        <p:spPr>
          <a:xfrm>
            <a:off x="1116162" y="3993957"/>
            <a:ext cx="4979684" cy="127544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sz="1150"/>
              <a:t>One Lamp, yellow light bulb</a:t>
            </a:r>
          </a:p>
          <a:p>
            <a:pPr>
              <a:buClrTx/>
              <a:buFont typeface="Arial" panose="020B0604020202020204" pitchFamily="34" charset="0"/>
              <a:buChar char="•"/>
            </a:pPr>
            <a:r>
              <a:rPr lang="en-US" sz="1150"/>
              <a:t>PV modules (small or big) </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Various cables</a:t>
            </a:r>
          </a:p>
          <a:p>
            <a:pPr>
              <a:buClrTx/>
              <a:buFont typeface="Arial" panose="020B0604020202020204" pitchFamily="34" charset="0"/>
              <a:buChar char="•"/>
            </a:pPr>
            <a:r>
              <a:rPr lang="en-US" sz="1150"/>
              <a:t>Holder for PV panels</a:t>
            </a:r>
          </a:p>
          <a:p>
            <a:pPr>
              <a:buClrTx/>
              <a:buFont typeface="Arial" panose="020B0604020202020204" pitchFamily="34" charset="0"/>
              <a:buChar char="•"/>
            </a:pPr>
            <a:r>
              <a:rPr lang="en-US" sz="1150"/>
              <a:t>Resistance (Potentiometer)</a:t>
            </a:r>
          </a:p>
          <a:p>
            <a:pPr>
              <a:buFont typeface="Arial" panose="020B0604020202020204" pitchFamily="34" charset="0"/>
              <a:buChar char="•"/>
            </a:pPr>
            <a:endParaRPr lang="en-US" sz="1150"/>
          </a:p>
        </p:txBody>
      </p:sp>
      <p:sp>
        <p:nvSpPr>
          <p:cNvPr id="10" name="Untertitel 5">
            <a:extLst>
              <a:ext uri="{FF2B5EF4-FFF2-40B4-BE49-F238E27FC236}">
                <a16:creationId xmlns:a16="http://schemas.microsoft.com/office/drawing/2014/main" id="{49109ECD-C35A-EEC0-7421-2BC8186212C0}"/>
              </a:ext>
            </a:extLst>
          </p:cNvPr>
          <p:cNvSpPr txBox="1">
            <a:spLocks/>
          </p:cNvSpPr>
          <p:nvPr/>
        </p:nvSpPr>
        <p:spPr>
          <a:xfrm>
            <a:off x="898069" y="3432594"/>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grpSp>
        <p:nvGrpSpPr>
          <p:cNvPr id="11" name="Gruppieren 10">
            <a:extLst>
              <a:ext uri="{FF2B5EF4-FFF2-40B4-BE49-F238E27FC236}">
                <a16:creationId xmlns:a16="http://schemas.microsoft.com/office/drawing/2014/main" id="{71461BA7-719F-BC89-EEFA-39D92B5048F5}"/>
              </a:ext>
            </a:extLst>
          </p:cNvPr>
          <p:cNvGrpSpPr/>
          <p:nvPr/>
        </p:nvGrpSpPr>
        <p:grpSpPr>
          <a:xfrm>
            <a:off x="6278925" y="3065222"/>
            <a:ext cx="402475" cy="419630"/>
            <a:chOff x="6140368" y="3097011"/>
            <a:chExt cx="660145" cy="660145"/>
          </a:xfrm>
        </p:grpSpPr>
        <p:sp>
          <p:nvSpPr>
            <p:cNvPr id="12" name="Ellipse 11">
              <a:extLst>
                <a:ext uri="{FF2B5EF4-FFF2-40B4-BE49-F238E27FC236}">
                  <a16:creationId xmlns:a16="http://schemas.microsoft.com/office/drawing/2014/main" id="{99B70211-E719-DF18-51A4-2DB2DC0B0DE5}"/>
                </a:ext>
              </a:extLst>
            </p:cNvPr>
            <p:cNvSpPr>
              <a:spLocks noChangeAspect="1"/>
            </p:cNvSpPr>
            <p:nvPr/>
          </p:nvSpPr>
          <p:spPr>
            <a:xfrm>
              <a:off x="6140368" y="3097011"/>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descr="Inventar mit einfarbiger Füllung">
              <a:extLst>
                <a:ext uri="{FF2B5EF4-FFF2-40B4-BE49-F238E27FC236}">
                  <a16:creationId xmlns:a16="http://schemas.microsoft.com/office/drawing/2014/main" id="{2B09456A-B915-587F-B1C6-C858145479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1840" y="3198483"/>
              <a:ext cx="457200" cy="457200"/>
            </a:xfrm>
            <a:prstGeom prst="rect">
              <a:avLst/>
            </a:prstGeom>
          </p:spPr>
        </p:pic>
      </p:grpSp>
    </p:spTree>
    <p:extLst>
      <p:ext uri="{BB962C8B-B14F-4D97-AF65-F5344CB8AC3E}">
        <p14:creationId xmlns:p14="http://schemas.microsoft.com/office/powerpoint/2010/main" val="31438375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a:extLst>
              <a:ext uri="{FF2B5EF4-FFF2-40B4-BE49-F238E27FC236}">
                <a16:creationId xmlns:a16="http://schemas.microsoft.com/office/drawing/2014/main" id="{F21D3631-F71B-6773-EA51-52F959293E5E}"/>
              </a:ext>
            </a:extLst>
          </p:cNvPr>
          <p:cNvSpPr>
            <a:spLocks noGrp="1"/>
          </p:cNvSpPr>
          <p:nvPr>
            <p:ph type="sldNum" sz="quarter" idx="16"/>
          </p:nvPr>
        </p:nvSpPr>
        <p:spPr/>
        <p:txBody>
          <a:bodyPr/>
          <a:lstStyle/>
          <a:p>
            <a:fld id="{DF7F771E-9578-4C04-B869-01AF4C35C90C}" type="slidenum">
              <a:rPr lang="de-DE" smtClean="0"/>
              <a:t>55</a:t>
            </a:fld>
            <a:endParaRPr lang="de-DE"/>
          </a:p>
        </p:txBody>
      </p:sp>
      <p:sp>
        <p:nvSpPr>
          <p:cNvPr id="8" name="Untertitel 5">
            <a:extLst>
              <a:ext uri="{FF2B5EF4-FFF2-40B4-BE49-F238E27FC236}">
                <a16:creationId xmlns:a16="http://schemas.microsoft.com/office/drawing/2014/main" id="{0B54FB8C-32AF-42B5-4FD2-0CECBFCD334C}"/>
              </a:ext>
            </a:extLst>
          </p:cNvPr>
          <p:cNvSpPr txBox="1">
            <a:spLocks/>
          </p:cNvSpPr>
          <p:nvPr/>
        </p:nvSpPr>
        <p:spPr>
          <a:xfrm>
            <a:off x="1162734" y="1283874"/>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0" name="Ellipse 9">
            <a:extLst>
              <a:ext uri="{FF2B5EF4-FFF2-40B4-BE49-F238E27FC236}">
                <a16:creationId xmlns:a16="http://schemas.microsoft.com/office/drawing/2014/main" id="{59F81158-1877-901D-46B6-C90998DB5A5F}"/>
              </a:ext>
            </a:extLst>
          </p:cNvPr>
          <p:cNvSpPr>
            <a:spLocks noChangeAspect="1"/>
          </p:cNvSpPr>
          <p:nvPr/>
        </p:nvSpPr>
        <p:spPr>
          <a:xfrm>
            <a:off x="744093" y="1277938"/>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descr="Skizze mit einfarbiger Füllung">
            <a:extLst>
              <a:ext uri="{FF2B5EF4-FFF2-40B4-BE49-F238E27FC236}">
                <a16:creationId xmlns:a16="http://schemas.microsoft.com/office/drawing/2014/main" id="{DE79478E-D4CF-AFD4-D5A0-4E4012ED07F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570" y="1341670"/>
            <a:ext cx="379044" cy="379044"/>
          </a:xfrm>
          <a:prstGeom prst="rect">
            <a:avLst/>
          </a:prstGeom>
        </p:spPr>
      </p:pic>
      <p:sp>
        <p:nvSpPr>
          <p:cNvPr id="12" name="Untertitel 3">
            <a:extLst>
              <a:ext uri="{FF2B5EF4-FFF2-40B4-BE49-F238E27FC236}">
                <a16:creationId xmlns:a16="http://schemas.microsoft.com/office/drawing/2014/main" id="{6F59C243-F903-3ACD-354F-18EF6E3A41F2}"/>
              </a:ext>
            </a:extLst>
          </p:cNvPr>
          <p:cNvSpPr txBox="1">
            <a:spLocks/>
          </p:cNvSpPr>
          <p:nvPr/>
        </p:nvSpPr>
        <p:spPr>
          <a:xfrm>
            <a:off x="719138" y="2356372"/>
            <a:ext cx="5939919" cy="5699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11150" indent="-171450">
              <a:buFont typeface="Arial" panose="020B0604020202020204" pitchFamily="34" charset="0"/>
              <a:buChar char="•"/>
            </a:pPr>
            <a:r>
              <a:rPr lang="en-US"/>
              <a:t>Replot your curve from module 4.</a:t>
            </a:r>
          </a:p>
          <a:p>
            <a:pPr marL="311150" indent="-171450">
              <a:buFont typeface="Arial" panose="020B0604020202020204" pitchFamily="34" charset="0"/>
              <a:buChar char="•"/>
            </a:pPr>
            <a:r>
              <a:rPr lang="en-US"/>
              <a:t>Now add the curve from this module.</a:t>
            </a:r>
          </a:p>
        </p:txBody>
      </p:sp>
      <p:sp>
        <p:nvSpPr>
          <p:cNvPr id="13" name="Untertitel 5">
            <a:extLst>
              <a:ext uri="{FF2B5EF4-FFF2-40B4-BE49-F238E27FC236}">
                <a16:creationId xmlns:a16="http://schemas.microsoft.com/office/drawing/2014/main" id="{C7CBD663-AA74-A378-7874-DB9D106F0EC9}"/>
              </a:ext>
            </a:extLst>
          </p:cNvPr>
          <p:cNvSpPr txBox="1">
            <a:spLocks/>
          </p:cNvSpPr>
          <p:nvPr/>
        </p:nvSpPr>
        <p:spPr>
          <a:xfrm>
            <a:off x="719138" y="192961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1</a:t>
            </a:r>
          </a:p>
        </p:txBody>
      </p:sp>
      <p:pic>
        <p:nvPicPr>
          <p:cNvPr id="14" name="Grafik 13" descr="Ein Bild, das Muster, Reihe, Quadrat, Rechteck enthält.&#10;&#10;Automatisch generierte Beschreibung">
            <a:extLst>
              <a:ext uri="{FF2B5EF4-FFF2-40B4-BE49-F238E27FC236}">
                <a16:creationId xmlns:a16="http://schemas.microsoft.com/office/drawing/2014/main" id="{023ED6B2-9A08-D63C-831B-E633731B3115}"/>
              </a:ext>
            </a:extLst>
          </p:cNvPr>
          <p:cNvPicPr>
            <a:picLocks noChangeAspect="1"/>
          </p:cNvPicPr>
          <p:nvPr/>
        </p:nvPicPr>
        <p:blipFill>
          <a:blip r:embed="rId4"/>
          <a:stretch>
            <a:fillRect/>
          </a:stretch>
        </p:blipFill>
        <p:spPr>
          <a:xfrm>
            <a:off x="1181417" y="3117056"/>
            <a:ext cx="5196840" cy="4457700"/>
          </a:xfrm>
          <a:prstGeom prst="rect">
            <a:avLst/>
          </a:prstGeom>
        </p:spPr>
      </p:pic>
      <p:sp>
        <p:nvSpPr>
          <p:cNvPr id="18" name="Untertitel 5">
            <a:extLst>
              <a:ext uri="{FF2B5EF4-FFF2-40B4-BE49-F238E27FC236}">
                <a16:creationId xmlns:a16="http://schemas.microsoft.com/office/drawing/2014/main" id="{45DE94FF-7C2E-D209-BF44-B97DBF9F04BF}"/>
              </a:ext>
            </a:extLst>
          </p:cNvPr>
          <p:cNvSpPr txBox="1">
            <a:spLocks/>
          </p:cNvSpPr>
          <p:nvPr/>
        </p:nvSpPr>
        <p:spPr>
          <a:xfrm>
            <a:off x="719138" y="7816867"/>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2</a:t>
            </a:r>
          </a:p>
        </p:txBody>
      </p:sp>
      <p:sp>
        <p:nvSpPr>
          <p:cNvPr id="19" name="Untertitel 3">
            <a:extLst>
              <a:ext uri="{FF2B5EF4-FFF2-40B4-BE49-F238E27FC236}">
                <a16:creationId xmlns:a16="http://schemas.microsoft.com/office/drawing/2014/main" id="{92300A37-CB02-4F9C-5327-BCF1D24C31C9}"/>
              </a:ext>
            </a:extLst>
          </p:cNvPr>
          <p:cNvSpPr txBox="1">
            <a:spLocks/>
          </p:cNvSpPr>
          <p:nvPr/>
        </p:nvSpPr>
        <p:spPr>
          <a:xfrm>
            <a:off x="719137" y="8235508"/>
            <a:ext cx="5939919" cy="5699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What did change compared to before? What happened with the maximum?</a:t>
            </a:r>
          </a:p>
          <a:p>
            <a:pPr marL="139700" indent="0"/>
            <a:r>
              <a:rPr lang="en-US"/>
              <a:t>Please discuss this with your seat neighbor.</a:t>
            </a:r>
          </a:p>
        </p:txBody>
      </p:sp>
      <p:cxnSp>
        <p:nvCxnSpPr>
          <p:cNvPr id="3" name="Gerade Verbindung mit Pfeil 2">
            <a:extLst>
              <a:ext uri="{FF2B5EF4-FFF2-40B4-BE49-F238E27FC236}">
                <a16:creationId xmlns:a16="http://schemas.microsoft.com/office/drawing/2014/main" id="{7C49276F-CDDE-4326-E14A-B3477C504227}"/>
              </a:ext>
            </a:extLst>
          </p:cNvPr>
          <p:cNvCxnSpPr>
            <a:cxnSpLocks/>
          </p:cNvCxnSpPr>
          <p:nvPr/>
        </p:nvCxnSpPr>
        <p:spPr>
          <a:xfrm flipV="1">
            <a:off x="1698178" y="3918851"/>
            <a:ext cx="0" cy="32831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 name="Gerade Verbindung mit Pfeil 3">
            <a:extLst>
              <a:ext uri="{FF2B5EF4-FFF2-40B4-BE49-F238E27FC236}">
                <a16:creationId xmlns:a16="http://schemas.microsoft.com/office/drawing/2014/main" id="{B587AA5B-0301-BFA0-7DF0-753D24B7B9CE}"/>
              </a:ext>
            </a:extLst>
          </p:cNvPr>
          <p:cNvCxnSpPr>
            <a:cxnSpLocks/>
          </p:cNvCxnSpPr>
          <p:nvPr/>
        </p:nvCxnSpPr>
        <p:spPr>
          <a:xfrm>
            <a:off x="1477115" y="6971204"/>
            <a:ext cx="4447701"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Rechteck 4">
            <a:extLst>
              <a:ext uri="{FF2B5EF4-FFF2-40B4-BE49-F238E27FC236}">
                <a16:creationId xmlns:a16="http://schemas.microsoft.com/office/drawing/2014/main" id="{6499999E-7087-A1B1-0BC3-AD682EACC50F}"/>
              </a:ext>
            </a:extLst>
          </p:cNvPr>
          <p:cNvSpPr/>
          <p:nvPr/>
        </p:nvSpPr>
        <p:spPr>
          <a:xfrm>
            <a:off x="1111120" y="3526775"/>
            <a:ext cx="797839" cy="8007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rPr>
              <a:t>y</a:t>
            </a:r>
          </a:p>
        </p:txBody>
      </p:sp>
      <p:sp>
        <p:nvSpPr>
          <p:cNvPr id="6" name="Rechteck 5">
            <a:extLst>
              <a:ext uri="{FF2B5EF4-FFF2-40B4-BE49-F238E27FC236}">
                <a16:creationId xmlns:a16="http://schemas.microsoft.com/office/drawing/2014/main" id="{FC8C2027-F218-F4FC-CE5E-516837A0991F}"/>
              </a:ext>
            </a:extLst>
          </p:cNvPr>
          <p:cNvSpPr/>
          <p:nvPr/>
        </p:nvSpPr>
        <p:spPr>
          <a:xfrm>
            <a:off x="5492971" y="6800548"/>
            <a:ext cx="797839" cy="8007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rPr>
              <a:t>x</a:t>
            </a:r>
          </a:p>
        </p:txBody>
      </p:sp>
    </p:spTree>
    <p:extLst>
      <p:ext uri="{BB962C8B-B14F-4D97-AF65-F5344CB8AC3E}">
        <p14:creationId xmlns:p14="http://schemas.microsoft.com/office/powerpoint/2010/main" val="1602044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sp>
        <p:nvSpPr>
          <p:cNvPr id="4" name="Rechteck 3">
            <a:extLst>
              <a:ext uri="{FF2B5EF4-FFF2-40B4-BE49-F238E27FC236}">
                <a16:creationId xmlns:a16="http://schemas.microsoft.com/office/drawing/2014/main" id="{FE70CA0E-25A9-C2AD-AE39-2001A076167F}"/>
              </a:ext>
            </a:extLst>
          </p:cNvPr>
          <p:cNvSpPr/>
          <p:nvPr/>
        </p:nvSpPr>
        <p:spPr>
          <a:xfrm>
            <a:off x="630317" y="4706337"/>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descr="Ein Bild, das Text, Grafiken, Logo, Screenshot enthält.&#10;&#10;Automatisch generierte Beschreibung">
            <a:extLst>
              <a:ext uri="{FF2B5EF4-FFF2-40B4-BE49-F238E27FC236}">
                <a16:creationId xmlns:a16="http://schemas.microsoft.com/office/drawing/2014/main" id="{C8DABE9F-C6F8-172C-BBD1-1475B0BC3D17}"/>
              </a:ext>
            </a:extLst>
          </p:cNvPr>
          <p:cNvPicPr>
            <a:picLocks noChangeAspect="1"/>
          </p:cNvPicPr>
          <p:nvPr/>
        </p:nvPicPr>
        <p:blipFill rotWithShape="1">
          <a:blip r:embed="rId4"/>
          <a:srcRect l="28487" t="5072" r="52008" b="74965"/>
          <a:stretch/>
        </p:blipFill>
        <p:spPr>
          <a:xfrm>
            <a:off x="719138" y="4721758"/>
            <a:ext cx="1696254" cy="1696254"/>
          </a:xfrm>
          <a:prstGeom prst="ellipse">
            <a:avLst/>
          </a:prstGeom>
        </p:spPr>
      </p:pic>
      <p:cxnSp>
        <p:nvCxnSpPr>
          <p:cNvPr id="305" name="Google Shape;305;p24"/>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304" name="Google Shape;304;p24"/>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sz="1488"/>
          </a:p>
        </p:txBody>
      </p:sp>
      <p:sp>
        <p:nvSpPr>
          <p:cNvPr id="326" name="Google Shape;326;p24"/>
          <p:cNvSpPr txBox="1">
            <a:spLocks noGrp="1"/>
          </p:cNvSpPr>
          <p:nvPr>
            <p:ph type="ctrTitle"/>
          </p:nvPr>
        </p:nvSpPr>
        <p:spPr>
          <a:xfrm>
            <a:off x="2753754" y="3994003"/>
            <a:ext cx="4216106" cy="1870573"/>
          </a:xfrm>
          <a:prstGeom prst="rect">
            <a:avLst/>
          </a:prstGeom>
        </p:spPr>
        <p:txBody>
          <a:bodyPr spcFirstLastPara="1" wrap="square" lIns="75584" tIns="75584" rIns="75584" bIns="75584" anchor="b" anchorCtr="0">
            <a:noAutofit/>
          </a:bodyPr>
          <a:lstStyle/>
          <a:p>
            <a:r>
              <a:rPr lang="en" sz="3450"/>
              <a:t>PV Education HUB</a:t>
            </a:r>
            <a:endParaRPr lang="it-IT" sz="3450"/>
          </a:p>
          <a:p>
            <a:r>
              <a:rPr lang="en" sz="3450" b="0"/>
              <a:t>Chapter 3</a:t>
            </a:r>
            <a:endParaRPr sz="3450" b="0"/>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Google Shape;327;p24">
            <a:extLst>
              <a:ext uri="{FF2B5EF4-FFF2-40B4-BE49-F238E27FC236}">
                <a16:creationId xmlns:a16="http://schemas.microsoft.com/office/drawing/2014/main" id="{AF8A9881-9AFE-21B0-C166-37DE4B084308}"/>
              </a:ext>
            </a:extLst>
          </p:cNvPr>
          <p:cNvSpPr txBox="1">
            <a:spLocks noGrp="1"/>
          </p:cNvSpPr>
          <p:nvPr>
            <p:ph type="subTitle" idx="1"/>
          </p:nvPr>
        </p:nvSpPr>
        <p:spPr>
          <a:xfrm>
            <a:off x="2753754" y="5824583"/>
            <a:ext cx="4216106" cy="928554"/>
          </a:xfrm>
          <a:prstGeom prst="rect">
            <a:avLst/>
          </a:prstGeom>
          <a:solidFill>
            <a:srgbClr val="F0E3D8"/>
          </a:solidFill>
          <a:ln>
            <a:noFill/>
          </a:ln>
        </p:spPr>
        <p:txBody>
          <a:bodyPr spcFirstLastPara="1" wrap="square" lIns="75584" tIns="75584" rIns="75584" bIns="75584" anchor="ctr" anchorCtr="0">
            <a:noAutofit/>
          </a:bodyPr>
          <a:lstStyle/>
          <a:p>
            <a:pPr marL="0" indent="0"/>
            <a:r>
              <a:rPr lang="en" sz="2800" b="1"/>
              <a:t>Understanding MPPT with TUM Controller</a:t>
            </a:r>
          </a:p>
        </p:txBody>
      </p:sp>
    </p:spTree>
    <p:extLst>
      <p:ext uri="{BB962C8B-B14F-4D97-AF65-F5344CB8AC3E}">
        <p14:creationId xmlns:p14="http://schemas.microsoft.com/office/powerpoint/2010/main" val="3237785027"/>
      </p:ext>
    </p:extLst>
  </p:cSld>
  <p:clrMapOvr>
    <a:masterClrMapping/>
  </p:clrMapOvr>
  <p:extLst>
    <p:ext uri="{6950BFC3-D8DA-4A85-94F7-54DA5524770B}">
      <p188:commentRel xmlns:p188="http://schemas.microsoft.com/office/powerpoint/2018/8/main" r:id="rId3"/>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67CF68-2B8D-3271-7FDF-153EC2D46D05}"/>
              </a:ext>
            </a:extLst>
          </p:cNvPr>
          <p:cNvGraphicFramePr>
            <a:graphicFrameLocks noChangeAspect="1"/>
          </p:cNvGraphicFramePr>
          <p:nvPr>
            <p:custDataLst>
              <p:tags r:id="rId1"/>
            </p:custDataLst>
            <p:extLst>
              <p:ext uri="{D42A27DB-BD31-4B8C-83A1-F6EECF244321}">
                <p14:modId xmlns:p14="http://schemas.microsoft.com/office/powerpoint/2010/main" val="1568243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6" name="think-cell data - do not delete" hidden="1">
                        <a:extLst>
                          <a:ext uri="{FF2B5EF4-FFF2-40B4-BE49-F238E27FC236}">
                            <a16:creationId xmlns:a16="http://schemas.microsoft.com/office/drawing/2014/main" id="{C867CF68-2B8D-3271-7FDF-153EC2D46D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oliennummernplatzhalter 14">
            <a:extLst>
              <a:ext uri="{FF2B5EF4-FFF2-40B4-BE49-F238E27FC236}">
                <a16:creationId xmlns:a16="http://schemas.microsoft.com/office/drawing/2014/main" id="{F21D3631-F71B-6773-EA51-52F959293E5E}"/>
              </a:ext>
            </a:extLst>
          </p:cNvPr>
          <p:cNvSpPr>
            <a:spLocks noGrp="1"/>
          </p:cNvSpPr>
          <p:nvPr>
            <p:ph type="sldNum" sz="quarter" idx="16"/>
          </p:nvPr>
        </p:nvSpPr>
        <p:spPr/>
        <p:txBody>
          <a:bodyPr/>
          <a:lstStyle/>
          <a:p>
            <a:fld id="{DF7F771E-9578-4C04-B869-01AF4C35C90C}" type="slidenum">
              <a:rPr lang="de-DE" smtClean="0"/>
              <a:t>57</a:t>
            </a:fld>
            <a:endParaRPr lang="de-DE"/>
          </a:p>
        </p:txBody>
      </p:sp>
      <p:sp>
        <p:nvSpPr>
          <p:cNvPr id="17" name="Untertitel 3">
            <a:extLst>
              <a:ext uri="{FF2B5EF4-FFF2-40B4-BE49-F238E27FC236}">
                <a16:creationId xmlns:a16="http://schemas.microsoft.com/office/drawing/2014/main" id="{7CAE8ABE-0020-B6DE-2C7F-0179B9B4B991}"/>
              </a:ext>
            </a:extLst>
          </p:cNvPr>
          <p:cNvSpPr txBox="1">
            <a:spLocks/>
          </p:cNvSpPr>
          <p:nvPr/>
        </p:nvSpPr>
        <p:spPr>
          <a:xfrm>
            <a:off x="735916" y="2686987"/>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Imagine you have a toy car with a PV cell on the roof that is powered only by sunlight.</a:t>
            </a:r>
            <a:endParaRPr lang="de-DE"/>
          </a:p>
        </p:txBody>
      </p:sp>
      <p:pic>
        <p:nvPicPr>
          <p:cNvPr id="21" name="Grafik 20">
            <a:extLst>
              <a:ext uri="{FF2B5EF4-FFF2-40B4-BE49-F238E27FC236}">
                <a16:creationId xmlns:a16="http://schemas.microsoft.com/office/drawing/2014/main" id="{3D293F03-80CA-BA45-AEF7-DFC73BBEBF99}"/>
              </a:ext>
            </a:extLst>
          </p:cNvPr>
          <p:cNvPicPr>
            <a:picLocks noChangeAspect="1"/>
          </p:cNvPicPr>
          <p:nvPr/>
        </p:nvPicPr>
        <p:blipFill>
          <a:blip r:embed="rId5"/>
          <a:stretch>
            <a:fillRect/>
          </a:stretch>
        </p:blipFill>
        <p:spPr>
          <a:xfrm>
            <a:off x="3003040" y="3110250"/>
            <a:ext cx="1553594" cy="1480484"/>
          </a:xfrm>
          <a:prstGeom prst="rect">
            <a:avLst/>
          </a:prstGeom>
        </p:spPr>
      </p:pic>
      <p:sp>
        <p:nvSpPr>
          <p:cNvPr id="22" name="Untertitel 3">
            <a:extLst>
              <a:ext uri="{FF2B5EF4-FFF2-40B4-BE49-F238E27FC236}">
                <a16:creationId xmlns:a16="http://schemas.microsoft.com/office/drawing/2014/main" id="{2E18E48E-B549-D9A4-3A5E-819FA7DB0B57}"/>
              </a:ext>
            </a:extLst>
          </p:cNvPr>
          <p:cNvSpPr txBox="1">
            <a:spLocks/>
          </p:cNvSpPr>
          <p:nvPr/>
        </p:nvSpPr>
        <p:spPr>
          <a:xfrm>
            <a:off x="735916" y="4605060"/>
            <a:ext cx="5944510" cy="230526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You know that it gets its energy from the sun through small solar cells on its roof. For the car to go as fast as possible, it needs to get just the right amount of energy from the sun all the time. But the amount of sunlight hitting the solar cells changes all the time – sometimes it's very sunny, sometimes it's cloudy, and sometimes the sun is in a different position in the sky.</a:t>
            </a:r>
          </a:p>
          <a:p>
            <a:endParaRPr lang="en-US" dirty="0"/>
          </a:p>
          <a:p>
            <a:r>
              <a:rPr lang="en-US" dirty="0"/>
              <a:t>MPPT, or Maximum Power Point Tracking, is like a very smart friend </a:t>
            </a:r>
          </a:p>
          <a:p>
            <a:endParaRPr lang="en-US" dirty="0"/>
          </a:p>
          <a:p>
            <a:pPr marL="139700" indent="0"/>
            <a:r>
              <a:rPr lang="en-US" dirty="0"/>
              <a:t>who makes sure your solar car always gets the best possible amount of energy, no matter how the sun is shining. </a:t>
            </a:r>
          </a:p>
          <a:p>
            <a:endParaRPr lang="de-DE" dirty="0"/>
          </a:p>
        </p:txBody>
      </p:sp>
      <p:pic>
        <p:nvPicPr>
          <p:cNvPr id="23" name="Grafik 22">
            <a:extLst>
              <a:ext uri="{FF2B5EF4-FFF2-40B4-BE49-F238E27FC236}">
                <a16:creationId xmlns:a16="http://schemas.microsoft.com/office/drawing/2014/main" id="{CA7F20CB-67BC-3500-FDE0-71322758DA9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338763" y="5740080"/>
            <a:ext cx="552450" cy="552450"/>
          </a:xfrm>
          <a:prstGeom prst="rect">
            <a:avLst/>
          </a:prstGeom>
        </p:spPr>
      </p:pic>
      <p:pic>
        <p:nvPicPr>
          <p:cNvPr id="24" name="Grafik 23">
            <a:extLst>
              <a:ext uri="{FF2B5EF4-FFF2-40B4-BE49-F238E27FC236}">
                <a16:creationId xmlns:a16="http://schemas.microsoft.com/office/drawing/2014/main" id="{49D70480-925A-4972-A640-26915661562F}"/>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60687" y="6996409"/>
            <a:ext cx="485775" cy="485775"/>
          </a:xfrm>
          <a:prstGeom prst="rect">
            <a:avLst/>
          </a:prstGeom>
          <a:noFill/>
        </p:spPr>
      </p:pic>
      <p:pic>
        <p:nvPicPr>
          <p:cNvPr id="25" name="Grafik 24">
            <a:extLst>
              <a:ext uri="{FF2B5EF4-FFF2-40B4-BE49-F238E27FC236}">
                <a16:creationId xmlns:a16="http://schemas.microsoft.com/office/drawing/2014/main" id="{59A4722F-B9B9-9298-67B7-6B6C409B00E6}"/>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54792" y="6924654"/>
            <a:ext cx="638175" cy="489585"/>
          </a:xfrm>
          <a:prstGeom prst="rect">
            <a:avLst/>
          </a:prstGeom>
          <a:noFill/>
        </p:spPr>
      </p:pic>
      <p:pic>
        <p:nvPicPr>
          <p:cNvPr id="26" name="Grafik 25">
            <a:extLst>
              <a:ext uri="{FF2B5EF4-FFF2-40B4-BE49-F238E27FC236}">
                <a16:creationId xmlns:a16="http://schemas.microsoft.com/office/drawing/2014/main" id="{3340DBC0-D1A9-F2F2-CC7C-90EFFBFEBD9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27437" y="7044034"/>
            <a:ext cx="304800" cy="304800"/>
          </a:xfrm>
          <a:prstGeom prst="rect">
            <a:avLst/>
          </a:prstGeom>
        </p:spPr>
      </p:pic>
      <p:sp>
        <p:nvSpPr>
          <p:cNvPr id="27" name="Untertitel 3">
            <a:extLst>
              <a:ext uri="{FF2B5EF4-FFF2-40B4-BE49-F238E27FC236}">
                <a16:creationId xmlns:a16="http://schemas.microsoft.com/office/drawing/2014/main" id="{D6C252EC-FDC0-D2B9-B09E-3303A561A8E7}"/>
              </a:ext>
            </a:extLst>
          </p:cNvPr>
          <p:cNvSpPr txBox="1">
            <a:spLocks/>
          </p:cNvSpPr>
          <p:nvPr/>
        </p:nvSpPr>
        <p:spPr>
          <a:xfrm>
            <a:off x="739072" y="7840260"/>
            <a:ext cx="5944510" cy="66801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This smart friend constantly watches and adjusts things to make sure the car always gets the maximum power it can use.</a:t>
            </a:r>
            <a:endParaRPr lang="de-DE" dirty="0"/>
          </a:p>
        </p:txBody>
      </p:sp>
      <p:sp>
        <p:nvSpPr>
          <p:cNvPr id="5" name="Untertitel 5">
            <a:extLst>
              <a:ext uri="{FF2B5EF4-FFF2-40B4-BE49-F238E27FC236}">
                <a16:creationId xmlns:a16="http://schemas.microsoft.com/office/drawing/2014/main" id="{2CBF3E38-8E94-4A84-849D-5635FC084575}"/>
              </a:ext>
            </a:extLst>
          </p:cNvPr>
          <p:cNvSpPr txBox="1">
            <a:spLocks/>
          </p:cNvSpPr>
          <p:nvPr/>
        </p:nvSpPr>
        <p:spPr>
          <a:xfrm>
            <a:off x="735916" y="2344449"/>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AU" sz="1200">
                <a:solidFill>
                  <a:schemeClr val="accent2"/>
                </a:solidFill>
              </a:rPr>
              <a:t>Nice to know</a:t>
            </a:r>
          </a:p>
        </p:txBody>
      </p:sp>
      <p:sp>
        <p:nvSpPr>
          <p:cNvPr id="28" name="Titel 1">
            <a:extLst>
              <a:ext uri="{FF2B5EF4-FFF2-40B4-BE49-F238E27FC236}">
                <a16:creationId xmlns:a16="http://schemas.microsoft.com/office/drawing/2014/main" id="{64FF1423-4C9C-4BB8-21AC-6AD843534A17}"/>
              </a:ext>
            </a:extLst>
          </p:cNvPr>
          <p:cNvSpPr>
            <a:spLocks noGrp="1"/>
          </p:cNvSpPr>
          <p:nvPr>
            <p:ph type="title"/>
          </p:nvPr>
        </p:nvSpPr>
        <p:spPr>
          <a:xfrm>
            <a:off x="589649" y="1121461"/>
            <a:ext cx="6380336" cy="636036"/>
          </a:xfrm>
        </p:spPr>
        <p:txBody>
          <a:bodyPr vert="horz"/>
          <a:lstStyle/>
          <a:p>
            <a:r>
              <a:rPr lang="de-DE"/>
              <a:t>1. MPPT – Maximum Power Point Tracking</a:t>
            </a:r>
          </a:p>
        </p:txBody>
      </p:sp>
    </p:spTree>
    <p:extLst>
      <p:ext uri="{BB962C8B-B14F-4D97-AF65-F5344CB8AC3E}">
        <p14:creationId xmlns:p14="http://schemas.microsoft.com/office/powerpoint/2010/main" val="27975228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F08EAE6-D20A-130C-13C9-349C61EC38E3}"/>
              </a:ext>
            </a:extLst>
          </p:cNvPr>
          <p:cNvSpPr>
            <a:spLocks noGrp="1"/>
          </p:cNvSpPr>
          <p:nvPr>
            <p:ph type="sldNum" sz="quarter" idx="4"/>
          </p:nvPr>
        </p:nvSpPr>
        <p:spPr/>
        <p:txBody>
          <a:bodyPr/>
          <a:lstStyle/>
          <a:p>
            <a:fld id="{DF7F771E-9578-4C04-B869-01AF4C35C90C}" type="slidenum">
              <a:rPr lang="de-DE" smtClean="0"/>
              <a:t>58</a:t>
            </a:fld>
            <a:endParaRPr lang="de-DE"/>
          </a:p>
        </p:txBody>
      </p:sp>
      <p:sp>
        <p:nvSpPr>
          <p:cNvPr id="4" name="Untertitel 5">
            <a:extLst>
              <a:ext uri="{FF2B5EF4-FFF2-40B4-BE49-F238E27FC236}">
                <a16:creationId xmlns:a16="http://schemas.microsoft.com/office/drawing/2014/main" id="{B90566FB-9FFC-C8C3-1AA2-B3A4F32BED8E}"/>
              </a:ext>
            </a:extLst>
          </p:cNvPr>
          <p:cNvSpPr txBox="1">
            <a:spLocks/>
          </p:cNvSpPr>
          <p:nvPr/>
        </p:nvSpPr>
        <p:spPr>
          <a:xfrm>
            <a:off x="719138" y="1277938"/>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Repetition</a:t>
            </a:r>
            <a:endParaRPr lang="de-DE" sz="1200">
              <a:solidFill>
                <a:schemeClr val="accent2"/>
              </a:solidFill>
            </a:endParaRPr>
          </a:p>
        </p:txBody>
      </p:sp>
      <p:sp>
        <p:nvSpPr>
          <p:cNvPr id="5" name="Untertitel 3">
            <a:extLst>
              <a:ext uri="{FF2B5EF4-FFF2-40B4-BE49-F238E27FC236}">
                <a16:creationId xmlns:a16="http://schemas.microsoft.com/office/drawing/2014/main" id="{775334E1-1A01-FDA0-4CF1-CA016C1AF87C}"/>
              </a:ext>
            </a:extLst>
          </p:cNvPr>
          <p:cNvSpPr txBox="1">
            <a:spLocks/>
          </p:cNvSpPr>
          <p:nvPr/>
        </p:nvSpPr>
        <p:spPr>
          <a:xfrm>
            <a:off x="719138" y="1696579"/>
            <a:ext cx="5933121" cy="124795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As we have learned before, there are changing Sunlight Conditions: The amount of sunlight hitting the solar cells keeps changing. When it’s sunny, the solar cells produce more energy, and when it’s cloudy, they produce less. The temperature also affects how well the solar cells work – they perform differently when it’s hot compared to when it’s cool.</a:t>
            </a:r>
          </a:p>
        </p:txBody>
      </p:sp>
      <p:sp>
        <p:nvSpPr>
          <p:cNvPr id="6" name="Untertitel 5">
            <a:extLst>
              <a:ext uri="{FF2B5EF4-FFF2-40B4-BE49-F238E27FC236}">
                <a16:creationId xmlns:a16="http://schemas.microsoft.com/office/drawing/2014/main" id="{77B2D0E7-6DF6-1AD2-1933-5A399866BE36}"/>
              </a:ext>
            </a:extLst>
          </p:cNvPr>
          <p:cNvSpPr txBox="1">
            <a:spLocks/>
          </p:cNvSpPr>
          <p:nvPr/>
        </p:nvSpPr>
        <p:spPr>
          <a:xfrm>
            <a:off x="735916" y="2944536"/>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Here’s how MPP works</a:t>
            </a:r>
            <a:endParaRPr lang="de-DE" sz="1200">
              <a:solidFill>
                <a:schemeClr val="accent2"/>
              </a:solidFill>
            </a:endParaRPr>
          </a:p>
        </p:txBody>
      </p:sp>
      <p:sp>
        <p:nvSpPr>
          <p:cNvPr id="7" name="Untertitel 3">
            <a:extLst>
              <a:ext uri="{FF2B5EF4-FFF2-40B4-BE49-F238E27FC236}">
                <a16:creationId xmlns:a16="http://schemas.microsoft.com/office/drawing/2014/main" id="{A072EB69-BC39-6988-B908-7B2A0AEE921E}"/>
              </a:ext>
            </a:extLst>
          </p:cNvPr>
          <p:cNvSpPr txBox="1">
            <a:spLocks/>
          </p:cNvSpPr>
          <p:nvPr/>
        </p:nvSpPr>
        <p:spPr>
          <a:xfrm>
            <a:off x="735916" y="3363177"/>
            <a:ext cx="5933121" cy="257622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a:pPr>
            <a:r>
              <a:rPr lang="en-US"/>
              <a:t>Optimal Energy Use: Solar cells have a specific point where they produce the most energy. This point is called the Maximum Power Point (MPP). Because the sunlight conditions keep changing, this optimal point also keeps changing.</a:t>
            </a:r>
          </a:p>
          <a:p>
            <a:pPr marL="368300" indent="-228600">
              <a:buFont typeface="+mj-lt"/>
              <a:buAutoNum type="arabicPeriod"/>
            </a:pPr>
            <a:r>
              <a:rPr lang="en-US"/>
              <a:t>MPPT Controller: The MPPT controller is a device that constantly measures how much energy the solar cells are producing and how the conditions are changing. It adjusts the electrical load so that the solar cells always operate at the Maximum Power Point. This means it makes sure the solar cells always produce the maximum amount of energy, no matter how the sunlight or temperature changes.</a:t>
            </a:r>
          </a:p>
          <a:p>
            <a:pPr marL="368300" indent="-228600">
              <a:buFont typeface="+mj-lt"/>
              <a:buAutoNum type="arabicPeriod"/>
            </a:pPr>
            <a:r>
              <a:rPr lang="en-US"/>
              <a:t>Practical Benefit: By making sure the solar cells always work optimally, your solar-powered car can run longer and faster. Without MPPT, your car wouldn’t always get as much energy as it could, and it would be slower or stop sooner.</a:t>
            </a:r>
          </a:p>
        </p:txBody>
      </p:sp>
      <p:sp>
        <p:nvSpPr>
          <p:cNvPr id="8" name="Untertitel 5">
            <a:extLst>
              <a:ext uri="{FF2B5EF4-FFF2-40B4-BE49-F238E27FC236}">
                <a16:creationId xmlns:a16="http://schemas.microsoft.com/office/drawing/2014/main" id="{6DF91ABA-5986-67F2-AAB1-4BF0128A00CE}"/>
              </a:ext>
            </a:extLst>
          </p:cNvPr>
          <p:cNvSpPr txBox="1">
            <a:spLocks/>
          </p:cNvSpPr>
          <p:nvPr/>
        </p:nvSpPr>
        <p:spPr>
          <a:xfrm>
            <a:off x="719138" y="5874394"/>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Automatic MPP is needed!</a:t>
            </a:r>
            <a:endParaRPr lang="de-DE" sz="1200">
              <a:solidFill>
                <a:schemeClr val="accent2"/>
              </a:solidFill>
            </a:endParaRPr>
          </a:p>
        </p:txBody>
      </p:sp>
    </p:spTree>
    <p:extLst>
      <p:ext uri="{BB962C8B-B14F-4D97-AF65-F5344CB8AC3E}">
        <p14:creationId xmlns:p14="http://schemas.microsoft.com/office/powerpoint/2010/main" val="20592017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C290F0A-6B02-75BD-D99A-D017780D4104}"/>
              </a:ext>
            </a:extLst>
          </p:cNvPr>
          <p:cNvGraphicFramePr>
            <a:graphicFrameLocks noChangeAspect="1"/>
          </p:cNvGraphicFramePr>
          <p:nvPr>
            <p:custDataLst>
              <p:tags r:id="rId1"/>
            </p:custDataLst>
            <p:extLst>
              <p:ext uri="{D42A27DB-BD31-4B8C-83A1-F6EECF244321}">
                <p14:modId xmlns:p14="http://schemas.microsoft.com/office/powerpoint/2010/main" val="2669872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think-cell data - do not delete" hidden="1">
                        <a:extLst>
                          <a:ext uri="{FF2B5EF4-FFF2-40B4-BE49-F238E27FC236}">
                            <a16:creationId xmlns:a16="http://schemas.microsoft.com/office/drawing/2014/main" id="{DC290F0A-6B02-75BD-D99A-D017780D41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502550EB-8065-D7B6-87B7-A37BDB1317E4}"/>
              </a:ext>
            </a:extLst>
          </p:cNvPr>
          <p:cNvSpPr>
            <a:spLocks noGrp="1"/>
          </p:cNvSpPr>
          <p:nvPr>
            <p:ph type="sldNum" sz="quarter" idx="4"/>
          </p:nvPr>
        </p:nvSpPr>
        <p:spPr/>
        <p:txBody>
          <a:bodyPr/>
          <a:lstStyle/>
          <a:p>
            <a:fld id="{DF7F771E-9578-4C04-B869-01AF4C35C90C}" type="slidenum">
              <a:rPr lang="de-DE" smtClean="0"/>
              <a:t>59</a:t>
            </a:fld>
            <a:endParaRPr lang="de-DE"/>
          </a:p>
        </p:txBody>
      </p:sp>
      <p:sp>
        <p:nvSpPr>
          <p:cNvPr id="8" name="Untertitel 5">
            <a:extLst>
              <a:ext uri="{FF2B5EF4-FFF2-40B4-BE49-F238E27FC236}">
                <a16:creationId xmlns:a16="http://schemas.microsoft.com/office/drawing/2014/main" id="{A13F9C77-CE01-D3DD-E0BD-8F96A7D9546A}"/>
              </a:ext>
            </a:extLst>
          </p:cNvPr>
          <p:cNvSpPr txBox="1">
            <a:spLocks/>
          </p:cNvSpPr>
          <p:nvPr/>
        </p:nvSpPr>
        <p:spPr>
          <a:xfrm>
            <a:off x="1093302" y="128811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9" name="Ellipse 8">
            <a:extLst>
              <a:ext uri="{FF2B5EF4-FFF2-40B4-BE49-F238E27FC236}">
                <a16:creationId xmlns:a16="http://schemas.microsoft.com/office/drawing/2014/main" id="{3677D59F-1C7B-60A5-0F1A-596FA12C6358}"/>
              </a:ext>
            </a:extLst>
          </p:cNvPr>
          <p:cNvSpPr>
            <a:spLocks noChangeAspect="1"/>
          </p:cNvSpPr>
          <p:nvPr/>
        </p:nvSpPr>
        <p:spPr>
          <a:xfrm>
            <a:off x="719138" y="1258616"/>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descr="Lupe mit einfarbiger Füllung">
            <a:extLst>
              <a:ext uri="{FF2B5EF4-FFF2-40B4-BE49-F238E27FC236}">
                <a16:creationId xmlns:a16="http://schemas.microsoft.com/office/drawing/2014/main" id="{8AA5703E-6D9F-F1CB-A6A7-C35CC87C1E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7211" y="1322296"/>
            <a:ext cx="333865" cy="333865"/>
          </a:xfrm>
          <a:prstGeom prst="rect">
            <a:avLst/>
          </a:prstGeom>
        </p:spPr>
      </p:pic>
      <p:sp>
        <p:nvSpPr>
          <p:cNvPr id="11" name="Untertitel 3">
            <a:extLst>
              <a:ext uri="{FF2B5EF4-FFF2-40B4-BE49-F238E27FC236}">
                <a16:creationId xmlns:a16="http://schemas.microsoft.com/office/drawing/2014/main" id="{0D959333-034B-C274-D2F6-6AD9B55F5855}"/>
              </a:ext>
            </a:extLst>
          </p:cNvPr>
          <p:cNvSpPr txBox="1">
            <a:spLocks/>
          </p:cNvSpPr>
          <p:nvPr/>
        </p:nvSpPr>
        <p:spPr>
          <a:xfrm>
            <a:off x="736250" y="1932694"/>
            <a:ext cx="5919009" cy="5699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Connect the PV to the MPPT controller </a:t>
            </a:r>
          </a:p>
          <a:p>
            <a:endParaRPr lang="en-US"/>
          </a:p>
        </p:txBody>
      </p:sp>
      <p:sp>
        <p:nvSpPr>
          <p:cNvPr id="12" name="Rechteck 11">
            <a:extLst>
              <a:ext uri="{FF2B5EF4-FFF2-40B4-BE49-F238E27FC236}">
                <a16:creationId xmlns:a16="http://schemas.microsoft.com/office/drawing/2014/main" id="{F78D6897-3E3B-F312-BC14-E04C6ADACF37}"/>
              </a:ext>
            </a:extLst>
          </p:cNvPr>
          <p:cNvSpPr/>
          <p:nvPr/>
        </p:nvSpPr>
        <p:spPr>
          <a:xfrm>
            <a:off x="2009739" y="2502608"/>
            <a:ext cx="3540155" cy="183718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solidFill>
                  <a:srgbClr val="FFFFFF"/>
                </a:solidFill>
              </a:rPr>
              <a:t>Bild</a:t>
            </a:r>
          </a:p>
        </p:txBody>
      </p:sp>
      <p:sp>
        <p:nvSpPr>
          <p:cNvPr id="13" name="Untertitel 5">
            <a:extLst>
              <a:ext uri="{FF2B5EF4-FFF2-40B4-BE49-F238E27FC236}">
                <a16:creationId xmlns:a16="http://schemas.microsoft.com/office/drawing/2014/main" id="{47EDABE4-6CFC-D764-9184-BDA43E4FA92F}"/>
              </a:ext>
            </a:extLst>
          </p:cNvPr>
          <p:cNvSpPr txBox="1">
            <a:spLocks/>
          </p:cNvSpPr>
          <p:nvPr/>
        </p:nvSpPr>
        <p:spPr>
          <a:xfrm>
            <a:off x="1158936" y="470682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4" name="Ellipse 13">
            <a:extLst>
              <a:ext uri="{FF2B5EF4-FFF2-40B4-BE49-F238E27FC236}">
                <a16:creationId xmlns:a16="http://schemas.microsoft.com/office/drawing/2014/main" id="{7D146EF4-F5AF-CD3E-0124-C099B28A5DC0}"/>
              </a:ext>
            </a:extLst>
          </p:cNvPr>
          <p:cNvSpPr>
            <a:spLocks noChangeAspect="1"/>
          </p:cNvSpPr>
          <p:nvPr/>
        </p:nvSpPr>
        <p:spPr>
          <a:xfrm>
            <a:off x="740295" y="4700892"/>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Grafik 14" descr="Skizze mit einfarbiger Füllung">
            <a:extLst>
              <a:ext uri="{FF2B5EF4-FFF2-40B4-BE49-F238E27FC236}">
                <a16:creationId xmlns:a16="http://schemas.microsoft.com/office/drawing/2014/main" id="{FD49B0CE-68D7-3369-8894-ED9D08C399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4772" y="4764624"/>
            <a:ext cx="379044" cy="379044"/>
          </a:xfrm>
          <a:prstGeom prst="rect">
            <a:avLst/>
          </a:prstGeom>
        </p:spPr>
      </p:pic>
      <p:sp>
        <p:nvSpPr>
          <p:cNvPr id="16" name="Untertitel 3">
            <a:extLst>
              <a:ext uri="{FF2B5EF4-FFF2-40B4-BE49-F238E27FC236}">
                <a16:creationId xmlns:a16="http://schemas.microsoft.com/office/drawing/2014/main" id="{E31DCF62-D5F7-AFD3-1E87-8D2D243AB727}"/>
              </a:ext>
            </a:extLst>
          </p:cNvPr>
          <p:cNvSpPr txBox="1">
            <a:spLocks/>
          </p:cNvSpPr>
          <p:nvPr/>
        </p:nvSpPr>
        <p:spPr>
          <a:xfrm>
            <a:off x="723729" y="5765818"/>
            <a:ext cx="5939919" cy="41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What might be happening inside this MPPT controller? Please discuss this with your seat neighbor.</a:t>
            </a:r>
          </a:p>
        </p:txBody>
      </p:sp>
      <p:sp>
        <p:nvSpPr>
          <p:cNvPr id="17" name="Untertitel 5">
            <a:extLst>
              <a:ext uri="{FF2B5EF4-FFF2-40B4-BE49-F238E27FC236}">
                <a16:creationId xmlns:a16="http://schemas.microsoft.com/office/drawing/2014/main" id="{87CA65A9-9F99-C65A-579B-DCE7703336E1}"/>
              </a:ext>
            </a:extLst>
          </p:cNvPr>
          <p:cNvSpPr txBox="1">
            <a:spLocks/>
          </p:cNvSpPr>
          <p:nvPr/>
        </p:nvSpPr>
        <p:spPr>
          <a:xfrm>
            <a:off x="723729" y="533905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Task </a:t>
            </a:r>
          </a:p>
        </p:txBody>
      </p:sp>
      <p:pic>
        <p:nvPicPr>
          <p:cNvPr id="21" name="Grafik 20" descr="Lesezeichen mit einfarbiger Füllung">
            <a:extLst>
              <a:ext uri="{FF2B5EF4-FFF2-40B4-BE49-F238E27FC236}">
                <a16:creationId xmlns:a16="http://schemas.microsoft.com/office/drawing/2014/main" id="{908CE2AE-910A-C1B4-E5CD-44B8D82863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6825" y="6497161"/>
            <a:ext cx="404450" cy="404450"/>
          </a:xfrm>
          <a:prstGeom prst="rect">
            <a:avLst/>
          </a:prstGeom>
        </p:spPr>
      </p:pic>
      <p:sp>
        <p:nvSpPr>
          <p:cNvPr id="25" name="Textfeld 24">
            <a:extLst>
              <a:ext uri="{FF2B5EF4-FFF2-40B4-BE49-F238E27FC236}">
                <a16:creationId xmlns:a16="http://schemas.microsoft.com/office/drawing/2014/main" id="{63AFE3CD-1EE8-6874-7DB5-C3355A8D0D08}"/>
              </a:ext>
            </a:extLst>
          </p:cNvPr>
          <p:cNvSpPr txBox="1"/>
          <p:nvPr/>
        </p:nvSpPr>
        <p:spPr>
          <a:xfrm>
            <a:off x="838105" y="6439012"/>
            <a:ext cx="5939919" cy="1808566"/>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effectLst/>
                <a:latin typeface="Times New Roman" panose="02020603050405020304" pitchFamily="18" charset="0"/>
                <a:ea typeface="Times New Roman" panose="02020603050405020304" pitchFamily="18" charset="0"/>
              </a:rPr>
              <a:t> </a:t>
            </a:r>
            <a:endParaRPr lang="de-DE" sz="120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2632949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AEF328F-6DF4-4E36-7514-BE5192F27FB2}"/>
              </a:ext>
            </a:extLst>
          </p:cNvPr>
          <p:cNvGraphicFramePr>
            <a:graphicFrameLocks noChangeAspect="1"/>
          </p:cNvGraphicFramePr>
          <p:nvPr>
            <p:custDataLst>
              <p:tags r:id="rId1"/>
            </p:custDataLst>
            <p:extLst>
              <p:ext uri="{D42A27DB-BD31-4B8C-83A1-F6EECF244321}">
                <p14:modId xmlns:p14="http://schemas.microsoft.com/office/powerpoint/2010/main" val="647138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think-cell data - do not delete" hidden="1">
                        <a:extLst>
                          <a:ext uri="{FF2B5EF4-FFF2-40B4-BE49-F238E27FC236}">
                            <a16:creationId xmlns:a16="http://schemas.microsoft.com/office/drawing/2014/main" id="{1AEF328F-6DF4-4E36-7514-BE5192F27F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E3A5165-8DD7-B00A-7B51-96C83EC80066}"/>
              </a:ext>
            </a:extLst>
          </p:cNvPr>
          <p:cNvSpPr>
            <a:spLocks noGrp="1"/>
          </p:cNvSpPr>
          <p:nvPr>
            <p:ph type="title"/>
          </p:nvPr>
        </p:nvSpPr>
        <p:spPr/>
        <p:txBody>
          <a:bodyPr vert="horz"/>
          <a:lstStyle/>
          <a:p>
            <a:r>
              <a:rPr lang="en-AU"/>
              <a:t>Why is PV important?</a:t>
            </a:r>
          </a:p>
        </p:txBody>
      </p:sp>
      <p:sp>
        <p:nvSpPr>
          <p:cNvPr id="7" name="Foliennummernplatzhalter 6">
            <a:extLst>
              <a:ext uri="{FF2B5EF4-FFF2-40B4-BE49-F238E27FC236}">
                <a16:creationId xmlns:a16="http://schemas.microsoft.com/office/drawing/2014/main" id="{D2EB48A1-78C4-0F93-6100-E70083C9853E}"/>
              </a:ext>
            </a:extLst>
          </p:cNvPr>
          <p:cNvSpPr>
            <a:spLocks noGrp="1"/>
          </p:cNvSpPr>
          <p:nvPr>
            <p:ph type="sldNum" sz="quarter" idx="10"/>
          </p:nvPr>
        </p:nvSpPr>
        <p:spPr/>
        <p:txBody>
          <a:bodyPr/>
          <a:lstStyle/>
          <a:p>
            <a:fld id="{DF7F771E-9578-4C04-B869-01AF4C35C90C}" type="slidenum">
              <a:rPr lang="de-DE" smtClean="0"/>
              <a:t>6</a:t>
            </a:fld>
            <a:endParaRPr lang="de-DE"/>
          </a:p>
        </p:txBody>
      </p:sp>
      <p:sp>
        <p:nvSpPr>
          <p:cNvPr id="6" name="Untertitel 3">
            <a:extLst>
              <a:ext uri="{FF2B5EF4-FFF2-40B4-BE49-F238E27FC236}">
                <a16:creationId xmlns:a16="http://schemas.microsoft.com/office/drawing/2014/main" id="{0E630E31-56A7-45D2-FE61-A1F165CD464C}"/>
              </a:ext>
            </a:extLst>
          </p:cNvPr>
          <p:cNvSpPr txBox="1">
            <a:spLocks/>
          </p:cNvSpPr>
          <p:nvPr/>
        </p:nvSpPr>
        <p:spPr>
          <a:xfrm>
            <a:off x="719138" y="1771650"/>
            <a:ext cx="6321425" cy="819694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dirty="0"/>
              <a:t>This part now will introduce photovoltaic (PV) energy! PV stands for </a:t>
            </a:r>
            <a:r>
              <a:rPr lang="en-US" sz="1160" b="1" dirty="0">
                <a:solidFill>
                  <a:schemeClr val="accent2"/>
                </a:solidFill>
                <a:latin typeface="Sofia Sans" panose="020B0604020202020204" charset="0"/>
              </a:rPr>
              <a:t>“Photo”</a:t>
            </a:r>
            <a:r>
              <a:rPr lang="en-US" sz="1160" dirty="0">
                <a:latin typeface="Sofia Sans" panose="020B0604020202020204" charset="0"/>
              </a:rPr>
              <a:t>, </a:t>
            </a:r>
          </a:p>
          <a:p>
            <a:r>
              <a:rPr lang="en-US" dirty="0"/>
              <a:t>which means light, </a:t>
            </a:r>
            <a:r>
              <a:rPr lang="en-US" sz="1160" dirty="0"/>
              <a:t>and</a:t>
            </a:r>
            <a:r>
              <a:rPr lang="en-US" sz="1160" b="1" dirty="0">
                <a:solidFill>
                  <a:schemeClr val="accent2"/>
                </a:solidFill>
                <a:latin typeface="Epilogue"/>
              </a:rPr>
              <a:t> </a:t>
            </a:r>
            <a:r>
              <a:rPr lang="en-US" sz="1160" b="1" dirty="0">
                <a:solidFill>
                  <a:schemeClr val="accent2"/>
                </a:solidFill>
                <a:latin typeface="Sofia Sans" panose="020B0604020202020204" charset="0"/>
              </a:rPr>
              <a:t>“Voltaic”</a:t>
            </a:r>
            <a:r>
              <a:rPr lang="en-US" sz="1160" b="1" dirty="0">
                <a:latin typeface="Sofia Sans" panose="020B0604020202020204" charset="0"/>
              </a:rPr>
              <a:t> </a:t>
            </a:r>
            <a:r>
              <a:rPr lang="en-US" dirty="0"/>
              <a:t>which refers to electricity. PV technology </a:t>
            </a:r>
          </a:p>
          <a:p>
            <a:r>
              <a:rPr lang="en-US" dirty="0"/>
              <a:t>makes it possible to convert sunlight into electricity. It is an amazing </a:t>
            </a:r>
          </a:p>
          <a:p>
            <a:r>
              <a:rPr lang="en-US" dirty="0"/>
              <a:t>technology that is not just about science; it is about our lives and our </a:t>
            </a:r>
          </a:p>
          <a:p>
            <a:r>
              <a:rPr lang="en-US" dirty="0"/>
              <a:t>environment.</a:t>
            </a:r>
          </a:p>
          <a:p>
            <a:endParaRPr lang="en-US" sz="1200" b="1" dirty="0">
              <a:solidFill>
                <a:schemeClr val="accent2"/>
              </a:solidFill>
              <a:latin typeface="Epilogue"/>
            </a:endParaRPr>
          </a:p>
          <a:p>
            <a:r>
              <a:rPr lang="en-US" sz="1200" b="1" dirty="0">
                <a:solidFill>
                  <a:schemeClr val="accent2"/>
                </a:solidFill>
                <a:latin typeface="Epilogue"/>
              </a:rPr>
              <a:t>Why is PV particularly important in Ghana? </a:t>
            </a:r>
          </a:p>
          <a:p>
            <a:pPr marL="139700" indent="0"/>
            <a:r>
              <a:rPr lang="en-US" dirty="0"/>
              <a:t>In Ghana, there is a lot of sunshine which makes it a very good place for generating PV energy. With the increasing demand for electricity and the need for sustainable solutions, PV offers a clean, renewable, and accessible source of energy. It helps reduce the dependence on fossil fuels, which are limited and harmful to our planet. By adopting PV technology, we can move towards a brighter and more sustainable future.</a:t>
            </a:r>
          </a:p>
          <a:p>
            <a:pPr marL="139700" indent="0"/>
            <a:r>
              <a:rPr lang="en-US" dirty="0"/>
              <a:t>Furthermore, PV panels are expected to become the main renewable technology in Ghana, providing energy security and independence. </a:t>
            </a:r>
          </a:p>
          <a:p>
            <a:endParaRPr lang="en-US" dirty="0"/>
          </a:p>
          <a:p>
            <a:r>
              <a:rPr lang="en-US" sz="1200" b="1" dirty="0">
                <a:solidFill>
                  <a:schemeClr val="accent2"/>
                </a:solidFill>
                <a:latin typeface="Epilogue"/>
                <a:sym typeface="Epilogue"/>
              </a:rPr>
              <a:t>What are some Advantages of PV?</a:t>
            </a:r>
          </a:p>
          <a:p>
            <a:pPr>
              <a:buAutoNum type="arabicPeriod"/>
            </a:pPr>
            <a:r>
              <a:rPr lang="en-US" b="1" i="1" dirty="0"/>
              <a:t>Renewable Energy Source</a:t>
            </a:r>
            <a:r>
              <a:rPr lang="en-US" dirty="0"/>
              <a:t>:					The sun provides a continuous source of energy, unlike coal or oil. This means we 	can generate electricity as long as the sun shines, which is practically infinite. </a:t>
            </a:r>
          </a:p>
          <a:p>
            <a:pPr>
              <a:buAutoNum type="arabicPeriod"/>
            </a:pPr>
            <a:r>
              <a:rPr lang="en-US" b="1" i="1" dirty="0"/>
              <a:t>Environmentally Friendly</a:t>
            </a:r>
            <a:r>
              <a:rPr lang="en-US" dirty="0"/>
              <a:t>:					PV systems are a clean source of energy that does not harm the environment.</a:t>
            </a:r>
          </a:p>
          <a:p>
            <a:pPr>
              <a:buAutoNum type="arabicPeriod"/>
            </a:pPr>
            <a:r>
              <a:rPr lang="en-US" b="1" i="1" dirty="0"/>
              <a:t>Low Operating Costs</a:t>
            </a:r>
            <a:r>
              <a:rPr lang="en-US" dirty="0"/>
              <a:t>:						Once installed, PV systems require minimal maintenance, and the energy from 	the sun is free! There are no fuel costs, and the systems are designed to last for 	many years.</a:t>
            </a:r>
          </a:p>
          <a:p>
            <a:pPr>
              <a:buAutoNum type="arabicPeriod"/>
            </a:pPr>
            <a:r>
              <a:rPr lang="en-US" b="1" i="1" dirty="0"/>
              <a:t>Energy Independence</a:t>
            </a:r>
            <a:r>
              <a:rPr lang="en-US" dirty="0"/>
              <a:t>:					PV enables communities to generate their own electricity and improve their 	energy security. This means less dependence on external energy sources and more 	control over the local energy supply.</a:t>
            </a:r>
          </a:p>
          <a:p>
            <a:pPr>
              <a:buAutoNum type="arabicPeriod"/>
            </a:pPr>
            <a:r>
              <a:rPr lang="en-US" b="1" i="1" dirty="0"/>
              <a:t>Multiple Applications</a:t>
            </a:r>
            <a:r>
              <a:rPr lang="en-US" dirty="0"/>
              <a:t>: </a:t>
            </a:r>
          </a:p>
          <a:p>
            <a:pPr marL="139700" indent="0"/>
            <a:r>
              <a:rPr lang="en-US" dirty="0"/>
              <a:t>	PV panels can be installed on rooftops, farms, devices, lakes… They can be used to 	power homes, schools, hospitals or just your cell phone!</a:t>
            </a:r>
          </a:p>
          <a:p>
            <a:pPr>
              <a:buAutoNum type="arabicPeriod"/>
            </a:pPr>
            <a:endParaRPr lang="en-US" dirty="0"/>
          </a:p>
          <a:p>
            <a:r>
              <a:rPr lang="en-US" sz="1200" b="1" dirty="0">
                <a:solidFill>
                  <a:schemeClr val="accent2"/>
                </a:solidFill>
                <a:latin typeface="Epilogue"/>
              </a:rPr>
              <a:t>What’s next?</a:t>
            </a:r>
          </a:p>
          <a:p>
            <a:pPr marL="139700" indent="0"/>
            <a:r>
              <a:rPr lang="en-US" dirty="0"/>
              <a:t>In the following chapters, you will explore PVs in more detail. You will learn about their functions, what makes them efficient and how to maintain them. With fun experiments and exercises you will see PV panels in action.</a:t>
            </a:r>
          </a:p>
          <a:p>
            <a:pPr marL="139700" indent="0"/>
            <a:endParaRPr lang="en-US" dirty="0"/>
          </a:p>
          <a:p>
            <a:pPr marL="139700" indent="0"/>
            <a:r>
              <a:rPr lang="en-US" dirty="0"/>
              <a:t>Now get ready to explore and experiment to learn more about PV technology. The journey to use the power of the sun starts here!</a:t>
            </a:r>
          </a:p>
        </p:txBody>
      </p:sp>
      <p:grpSp>
        <p:nvGrpSpPr>
          <p:cNvPr id="12" name="Google Shape;852;p44">
            <a:extLst>
              <a:ext uri="{FF2B5EF4-FFF2-40B4-BE49-F238E27FC236}">
                <a16:creationId xmlns:a16="http://schemas.microsoft.com/office/drawing/2014/main" id="{7D8E4CE0-00A5-2E99-7931-FB80774931A6}"/>
              </a:ext>
            </a:extLst>
          </p:cNvPr>
          <p:cNvGrpSpPr/>
          <p:nvPr/>
        </p:nvGrpSpPr>
        <p:grpSpPr>
          <a:xfrm>
            <a:off x="6090407" y="1847151"/>
            <a:ext cx="750130" cy="795532"/>
            <a:chOff x="5425513" y="1469031"/>
            <a:chExt cx="478043" cy="492188"/>
          </a:xfrm>
        </p:grpSpPr>
        <p:sp>
          <p:nvSpPr>
            <p:cNvPr id="13" name="Google Shape;853;p44">
              <a:extLst>
                <a:ext uri="{FF2B5EF4-FFF2-40B4-BE49-F238E27FC236}">
                  <a16:creationId xmlns:a16="http://schemas.microsoft.com/office/drawing/2014/main" id="{8F90BD99-DA36-22CF-061B-688A0012A4C5}"/>
                </a:ext>
              </a:extLst>
            </p:cNvPr>
            <p:cNvSpPr/>
            <p:nvPr/>
          </p:nvSpPr>
          <p:spPr>
            <a:xfrm>
              <a:off x="5539422" y="1587421"/>
              <a:ext cx="39857" cy="14150"/>
            </a:xfrm>
            <a:custGeom>
              <a:avLst/>
              <a:gdLst/>
              <a:ahLst/>
              <a:cxnLst/>
              <a:rect l="l" t="t" r="r" b="b"/>
              <a:pathLst>
                <a:path w="169" h="60" extrusionOk="0">
                  <a:moveTo>
                    <a:pt x="30" y="60"/>
                  </a:moveTo>
                  <a:lnTo>
                    <a:pt x="30" y="60"/>
                  </a:lnTo>
                  <a:cubicBezTo>
                    <a:pt x="138" y="60"/>
                    <a:pt x="138" y="60"/>
                    <a:pt x="138" y="60"/>
                  </a:cubicBezTo>
                  <a:cubicBezTo>
                    <a:pt x="153" y="60"/>
                    <a:pt x="168" y="49"/>
                    <a:pt x="168" y="33"/>
                  </a:cubicBezTo>
                  <a:cubicBezTo>
                    <a:pt x="172" y="15"/>
                    <a:pt x="157" y="0"/>
                    <a:pt x="138" y="0"/>
                  </a:cubicBezTo>
                  <a:cubicBezTo>
                    <a:pt x="30" y="0"/>
                    <a:pt x="30" y="0"/>
                    <a:pt x="30" y="0"/>
                  </a:cubicBezTo>
                  <a:cubicBezTo>
                    <a:pt x="15" y="0"/>
                    <a:pt x="0" y="11"/>
                    <a:pt x="0" y="26"/>
                  </a:cubicBezTo>
                  <a:cubicBezTo>
                    <a:pt x="-4" y="45"/>
                    <a:pt x="11" y="60"/>
                    <a:pt x="30" y="60"/>
                  </a:cubicBezTo>
                  <a:close/>
                </a:path>
              </a:pathLst>
            </a:custGeom>
            <a:solidFill>
              <a:schemeClr val="lt1"/>
            </a:solidFill>
            <a:ln>
              <a:noFill/>
            </a:ln>
          </p:spPr>
          <p:txBody>
            <a:bodyPr spcFirstLastPara="1" wrap="square" lIns="90000" tIns="0" rIns="90000" bIns="0" anchor="ctr" anchorCtr="1">
              <a:noAutofit/>
            </a:bodyPr>
            <a:lstStyle/>
            <a:p>
              <a:pPr marL="0" marR="0" lvl="0" indent="0" algn="l" rtl="0">
                <a:spcBef>
                  <a:spcPts val="0"/>
                </a:spcBef>
                <a:spcAft>
                  <a:spcPts val="0"/>
                </a:spcAft>
                <a:buNone/>
              </a:pPr>
              <a:endParaRPr sz="1800" b="1" strike="noStrike">
                <a:solidFill>
                  <a:srgbClr val="FFFFFF"/>
                </a:solidFill>
                <a:latin typeface="Arial"/>
                <a:ea typeface="Arial"/>
                <a:cs typeface="Arial"/>
                <a:sym typeface="Arial"/>
              </a:endParaRPr>
            </a:p>
          </p:txBody>
        </p:sp>
        <p:sp>
          <p:nvSpPr>
            <p:cNvPr id="14" name="Google Shape;854;p44">
              <a:extLst>
                <a:ext uri="{FF2B5EF4-FFF2-40B4-BE49-F238E27FC236}">
                  <a16:creationId xmlns:a16="http://schemas.microsoft.com/office/drawing/2014/main" id="{84BF714B-2A58-7D87-8321-862C290B93F8}"/>
                </a:ext>
              </a:extLst>
            </p:cNvPr>
            <p:cNvSpPr/>
            <p:nvPr/>
          </p:nvSpPr>
          <p:spPr>
            <a:xfrm>
              <a:off x="5749317" y="1587421"/>
              <a:ext cx="40564" cy="14150"/>
            </a:xfrm>
            <a:custGeom>
              <a:avLst/>
              <a:gdLst/>
              <a:ahLst/>
              <a:cxnLst/>
              <a:rect l="l" t="t" r="r" b="b"/>
              <a:pathLst>
                <a:path w="172" h="60" extrusionOk="0">
                  <a:moveTo>
                    <a:pt x="30" y="60"/>
                  </a:moveTo>
                  <a:lnTo>
                    <a:pt x="30" y="60"/>
                  </a:lnTo>
                  <a:cubicBezTo>
                    <a:pt x="139" y="60"/>
                    <a:pt x="139" y="60"/>
                    <a:pt x="139" y="60"/>
                  </a:cubicBezTo>
                  <a:cubicBezTo>
                    <a:pt x="153" y="60"/>
                    <a:pt x="168" y="49"/>
                    <a:pt x="172" y="33"/>
                  </a:cubicBezTo>
                  <a:cubicBezTo>
                    <a:pt x="172" y="15"/>
                    <a:pt x="157" y="0"/>
                    <a:pt x="139" y="0"/>
                  </a:cubicBezTo>
                  <a:cubicBezTo>
                    <a:pt x="30" y="0"/>
                    <a:pt x="30" y="0"/>
                    <a:pt x="30" y="0"/>
                  </a:cubicBezTo>
                  <a:cubicBezTo>
                    <a:pt x="11" y="0"/>
                    <a:pt x="-4" y="15"/>
                    <a:pt x="0" y="33"/>
                  </a:cubicBezTo>
                  <a:cubicBezTo>
                    <a:pt x="4" y="49"/>
                    <a:pt x="15" y="60"/>
                    <a:pt x="30" y="60"/>
                  </a:cubicBezTo>
                  <a:close/>
                </a:path>
              </a:pathLst>
            </a:custGeom>
            <a:solidFill>
              <a:schemeClr val="lt1"/>
            </a:solidFill>
            <a:ln>
              <a:noFill/>
            </a:ln>
          </p:spPr>
          <p:txBody>
            <a:bodyPr spcFirstLastPara="1" wrap="square" lIns="90000" tIns="0" rIns="90000" bIns="0" anchor="ctr" anchorCtr="1">
              <a:noAutofit/>
            </a:bodyPr>
            <a:lstStyle/>
            <a:p>
              <a:pPr marL="0" marR="0" lvl="0" indent="0" algn="l" rtl="0">
                <a:spcBef>
                  <a:spcPts val="0"/>
                </a:spcBef>
                <a:spcAft>
                  <a:spcPts val="0"/>
                </a:spcAft>
                <a:buNone/>
              </a:pPr>
              <a:endParaRPr sz="1800" b="1" strike="noStrike">
                <a:solidFill>
                  <a:srgbClr val="FFFFFF"/>
                </a:solidFill>
                <a:latin typeface="Arial"/>
                <a:ea typeface="Arial"/>
                <a:cs typeface="Arial"/>
                <a:sym typeface="Arial"/>
              </a:endParaRPr>
            </a:p>
          </p:txBody>
        </p:sp>
        <p:sp>
          <p:nvSpPr>
            <p:cNvPr id="15" name="Google Shape;855;p44">
              <a:extLst>
                <a:ext uri="{FF2B5EF4-FFF2-40B4-BE49-F238E27FC236}">
                  <a16:creationId xmlns:a16="http://schemas.microsoft.com/office/drawing/2014/main" id="{96900AB7-DC98-9D45-905D-CD9D2FA3FAD2}"/>
                </a:ext>
              </a:extLst>
            </p:cNvPr>
            <p:cNvSpPr/>
            <p:nvPr/>
          </p:nvSpPr>
          <p:spPr>
            <a:xfrm>
              <a:off x="5722668" y="1503699"/>
              <a:ext cx="32074" cy="32545"/>
            </a:xfrm>
            <a:custGeom>
              <a:avLst/>
              <a:gdLst/>
              <a:ahLst/>
              <a:cxnLst/>
              <a:rect l="l" t="t" r="r" b="b"/>
              <a:pathLst>
                <a:path w="136" h="138" extrusionOk="0">
                  <a:moveTo>
                    <a:pt x="31" y="138"/>
                  </a:moveTo>
                  <a:lnTo>
                    <a:pt x="31" y="138"/>
                  </a:lnTo>
                  <a:cubicBezTo>
                    <a:pt x="38" y="138"/>
                    <a:pt x="46" y="134"/>
                    <a:pt x="49" y="131"/>
                  </a:cubicBezTo>
                  <a:cubicBezTo>
                    <a:pt x="128" y="52"/>
                    <a:pt x="128" y="52"/>
                    <a:pt x="128" y="52"/>
                  </a:cubicBezTo>
                  <a:cubicBezTo>
                    <a:pt x="139" y="41"/>
                    <a:pt x="139" y="22"/>
                    <a:pt x="128" y="11"/>
                  </a:cubicBezTo>
                  <a:cubicBezTo>
                    <a:pt x="117" y="-4"/>
                    <a:pt x="98" y="-4"/>
                    <a:pt x="83" y="11"/>
                  </a:cubicBezTo>
                  <a:cubicBezTo>
                    <a:pt x="9" y="86"/>
                    <a:pt x="9" y="86"/>
                    <a:pt x="9" y="86"/>
                  </a:cubicBezTo>
                  <a:cubicBezTo>
                    <a:pt x="-3" y="97"/>
                    <a:pt x="-3" y="119"/>
                    <a:pt x="9" y="131"/>
                  </a:cubicBezTo>
                  <a:cubicBezTo>
                    <a:pt x="12" y="134"/>
                    <a:pt x="20" y="138"/>
                    <a:pt x="31" y="138"/>
                  </a:cubicBezTo>
                  <a:close/>
                </a:path>
              </a:pathLst>
            </a:custGeom>
            <a:solidFill>
              <a:schemeClr val="lt1"/>
            </a:solidFill>
            <a:ln>
              <a:noFill/>
            </a:ln>
          </p:spPr>
          <p:txBody>
            <a:bodyPr spcFirstLastPara="1" wrap="square" lIns="90000" tIns="4675" rIns="90000" bIns="4675" anchor="ctr" anchorCtr="1">
              <a:noAutofit/>
            </a:bodyPr>
            <a:lstStyle/>
            <a:p>
              <a:pPr marL="0" marR="0" lvl="0" indent="0" algn="l" rtl="0">
                <a:spcBef>
                  <a:spcPts val="0"/>
                </a:spcBef>
                <a:spcAft>
                  <a:spcPts val="0"/>
                </a:spcAft>
                <a:buNone/>
              </a:pPr>
              <a:endParaRPr sz="1800" b="1" strike="noStrike">
                <a:solidFill>
                  <a:srgbClr val="FFFFFF"/>
                </a:solidFill>
                <a:latin typeface="Arial"/>
                <a:ea typeface="Arial"/>
                <a:cs typeface="Arial"/>
                <a:sym typeface="Arial"/>
              </a:endParaRPr>
            </a:p>
          </p:txBody>
        </p:sp>
        <p:sp>
          <p:nvSpPr>
            <p:cNvPr id="16" name="Google Shape;856;p44">
              <a:extLst>
                <a:ext uri="{FF2B5EF4-FFF2-40B4-BE49-F238E27FC236}">
                  <a16:creationId xmlns:a16="http://schemas.microsoft.com/office/drawing/2014/main" id="{98177EDA-C419-4858-6227-C979C5B16ACD}"/>
                </a:ext>
              </a:extLst>
            </p:cNvPr>
            <p:cNvSpPr/>
            <p:nvPr/>
          </p:nvSpPr>
          <p:spPr>
            <a:xfrm>
              <a:off x="5573619" y="1503699"/>
              <a:ext cx="33017" cy="32545"/>
            </a:xfrm>
            <a:custGeom>
              <a:avLst/>
              <a:gdLst/>
              <a:ahLst/>
              <a:cxnLst/>
              <a:rect l="l" t="t" r="r" b="b"/>
              <a:pathLst>
                <a:path w="140" h="138" extrusionOk="0">
                  <a:moveTo>
                    <a:pt x="87" y="131"/>
                  </a:moveTo>
                  <a:lnTo>
                    <a:pt x="87" y="131"/>
                  </a:lnTo>
                  <a:cubicBezTo>
                    <a:pt x="91" y="134"/>
                    <a:pt x="102" y="138"/>
                    <a:pt x="109" y="138"/>
                  </a:cubicBezTo>
                  <a:cubicBezTo>
                    <a:pt x="117" y="138"/>
                    <a:pt x="124" y="134"/>
                    <a:pt x="128" y="131"/>
                  </a:cubicBezTo>
                  <a:cubicBezTo>
                    <a:pt x="143" y="119"/>
                    <a:pt x="143" y="97"/>
                    <a:pt x="128" y="86"/>
                  </a:cubicBezTo>
                  <a:cubicBezTo>
                    <a:pt x="53" y="11"/>
                    <a:pt x="53" y="11"/>
                    <a:pt x="53" y="11"/>
                  </a:cubicBezTo>
                  <a:cubicBezTo>
                    <a:pt x="38" y="-4"/>
                    <a:pt x="19" y="-4"/>
                    <a:pt x="8" y="11"/>
                  </a:cubicBezTo>
                  <a:cubicBezTo>
                    <a:pt x="-3" y="22"/>
                    <a:pt x="-3" y="41"/>
                    <a:pt x="8" y="52"/>
                  </a:cubicBezTo>
                  <a:lnTo>
                    <a:pt x="87" y="131"/>
                  </a:lnTo>
                  <a:close/>
                </a:path>
              </a:pathLst>
            </a:custGeom>
            <a:solidFill>
              <a:schemeClr val="lt1"/>
            </a:solidFill>
            <a:ln>
              <a:noFill/>
            </a:ln>
          </p:spPr>
          <p:txBody>
            <a:bodyPr spcFirstLastPara="1" wrap="square" lIns="90000" tIns="4675" rIns="90000" bIns="4675" anchor="ctr" anchorCtr="1">
              <a:noAutofit/>
            </a:bodyPr>
            <a:lstStyle/>
            <a:p>
              <a:pPr marL="0" marR="0" lvl="0" indent="0" algn="l" rtl="0">
                <a:spcBef>
                  <a:spcPts val="0"/>
                </a:spcBef>
                <a:spcAft>
                  <a:spcPts val="0"/>
                </a:spcAft>
                <a:buNone/>
              </a:pPr>
              <a:endParaRPr sz="1800" b="1" strike="noStrike">
                <a:solidFill>
                  <a:srgbClr val="FFFFFF"/>
                </a:solidFill>
                <a:latin typeface="Arial"/>
                <a:ea typeface="Arial"/>
                <a:cs typeface="Arial"/>
                <a:sym typeface="Arial"/>
              </a:endParaRPr>
            </a:p>
          </p:txBody>
        </p:sp>
        <p:sp>
          <p:nvSpPr>
            <p:cNvPr id="17" name="Google Shape;857;p44">
              <a:extLst>
                <a:ext uri="{FF2B5EF4-FFF2-40B4-BE49-F238E27FC236}">
                  <a16:creationId xmlns:a16="http://schemas.microsoft.com/office/drawing/2014/main" id="{FE43AB90-8591-923A-FA57-9F15D346E519}"/>
                </a:ext>
              </a:extLst>
            </p:cNvPr>
            <p:cNvSpPr/>
            <p:nvPr/>
          </p:nvSpPr>
          <p:spPr>
            <a:xfrm>
              <a:off x="5657577" y="1469031"/>
              <a:ext cx="14150" cy="40092"/>
            </a:xfrm>
            <a:custGeom>
              <a:avLst/>
              <a:gdLst/>
              <a:ahLst/>
              <a:cxnLst/>
              <a:rect l="l" t="t" r="r" b="b"/>
              <a:pathLst>
                <a:path w="60" h="170" extrusionOk="0">
                  <a:moveTo>
                    <a:pt x="60" y="139"/>
                  </a:moveTo>
                  <a:lnTo>
                    <a:pt x="60" y="139"/>
                  </a:lnTo>
                  <a:cubicBezTo>
                    <a:pt x="60" y="31"/>
                    <a:pt x="60" y="31"/>
                    <a:pt x="60" y="31"/>
                  </a:cubicBezTo>
                  <a:cubicBezTo>
                    <a:pt x="60" y="16"/>
                    <a:pt x="49" y="1"/>
                    <a:pt x="34" y="1"/>
                  </a:cubicBezTo>
                  <a:cubicBezTo>
                    <a:pt x="15" y="-3"/>
                    <a:pt x="0" y="12"/>
                    <a:pt x="0" y="31"/>
                  </a:cubicBezTo>
                  <a:cubicBezTo>
                    <a:pt x="0" y="139"/>
                    <a:pt x="0" y="139"/>
                    <a:pt x="0" y="139"/>
                  </a:cubicBezTo>
                  <a:cubicBezTo>
                    <a:pt x="0" y="158"/>
                    <a:pt x="15" y="173"/>
                    <a:pt x="34" y="169"/>
                  </a:cubicBezTo>
                  <a:cubicBezTo>
                    <a:pt x="49" y="169"/>
                    <a:pt x="60" y="154"/>
                    <a:pt x="60" y="139"/>
                  </a:cubicBezTo>
                  <a:close/>
                </a:path>
              </a:pathLst>
            </a:custGeom>
            <a:solidFill>
              <a:schemeClr val="lt1"/>
            </a:solidFill>
            <a:ln>
              <a:noFill/>
            </a:ln>
          </p:spPr>
          <p:txBody>
            <a:bodyPr spcFirstLastPara="1" wrap="square" lIns="90000" tIns="16200" rIns="90000" bIns="16200" anchor="ctr" anchorCtr="1">
              <a:noAutofit/>
            </a:bodyPr>
            <a:lstStyle/>
            <a:p>
              <a:pPr marL="0" marR="0" lvl="0" indent="0" algn="l" rtl="0">
                <a:spcBef>
                  <a:spcPts val="0"/>
                </a:spcBef>
                <a:spcAft>
                  <a:spcPts val="0"/>
                </a:spcAft>
                <a:buNone/>
              </a:pPr>
              <a:endParaRPr sz="1800" b="1" strike="noStrike">
                <a:solidFill>
                  <a:srgbClr val="FFFFFF"/>
                </a:solidFill>
                <a:latin typeface="Arial"/>
                <a:ea typeface="Arial"/>
                <a:cs typeface="Arial"/>
                <a:sym typeface="Arial"/>
              </a:endParaRPr>
            </a:p>
          </p:txBody>
        </p:sp>
        <p:sp>
          <p:nvSpPr>
            <p:cNvPr id="18" name="Google Shape;858;p44">
              <a:extLst>
                <a:ext uri="{FF2B5EF4-FFF2-40B4-BE49-F238E27FC236}">
                  <a16:creationId xmlns:a16="http://schemas.microsoft.com/office/drawing/2014/main" id="{5DB5187D-A139-510F-69D6-547F6AF60EFA}"/>
                </a:ext>
              </a:extLst>
            </p:cNvPr>
            <p:cNvSpPr/>
            <p:nvPr/>
          </p:nvSpPr>
          <p:spPr>
            <a:xfrm>
              <a:off x="5425513" y="1526575"/>
              <a:ext cx="478043" cy="434644"/>
            </a:xfrm>
            <a:custGeom>
              <a:avLst/>
              <a:gdLst/>
              <a:ahLst/>
              <a:cxnLst/>
              <a:rect l="l" t="t" r="r" b="b"/>
              <a:pathLst>
                <a:path w="2027" h="1843" extrusionOk="0">
                  <a:moveTo>
                    <a:pt x="2024" y="1234"/>
                  </a:moveTo>
                  <a:lnTo>
                    <a:pt x="2024" y="1234"/>
                  </a:lnTo>
                  <a:cubicBezTo>
                    <a:pt x="2012" y="1156"/>
                    <a:pt x="2012" y="1156"/>
                    <a:pt x="2012" y="1156"/>
                  </a:cubicBezTo>
                  <a:lnTo>
                    <a:pt x="2012" y="1156"/>
                  </a:lnTo>
                  <a:lnTo>
                    <a:pt x="2012" y="1156"/>
                  </a:lnTo>
                  <a:cubicBezTo>
                    <a:pt x="1927" y="681"/>
                    <a:pt x="1927" y="681"/>
                    <a:pt x="1927" y="681"/>
                  </a:cubicBezTo>
                  <a:lnTo>
                    <a:pt x="1927" y="681"/>
                  </a:lnTo>
                  <a:cubicBezTo>
                    <a:pt x="1893" y="497"/>
                    <a:pt x="1893" y="497"/>
                    <a:pt x="1893" y="497"/>
                  </a:cubicBezTo>
                  <a:lnTo>
                    <a:pt x="1893" y="497"/>
                  </a:lnTo>
                  <a:cubicBezTo>
                    <a:pt x="1885" y="449"/>
                    <a:pt x="1844" y="419"/>
                    <a:pt x="1799" y="419"/>
                  </a:cubicBezTo>
                  <a:lnTo>
                    <a:pt x="1795" y="419"/>
                  </a:lnTo>
                  <a:cubicBezTo>
                    <a:pt x="1269" y="419"/>
                    <a:pt x="1269" y="419"/>
                    <a:pt x="1269" y="419"/>
                  </a:cubicBezTo>
                  <a:cubicBezTo>
                    <a:pt x="1291" y="378"/>
                    <a:pt x="1302" y="333"/>
                    <a:pt x="1302" y="288"/>
                  </a:cubicBezTo>
                  <a:cubicBezTo>
                    <a:pt x="1302" y="127"/>
                    <a:pt x="1171" y="0"/>
                    <a:pt x="1014" y="0"/>
                  </a:cubicBezTo>
                  <a:cubicBezTo>
                    <a:pt x="853" y="0"/>
                    <a:pt x="723" y="127"/>
                    <a:pt x="723" y="288"/>
                  </a:cubicBezTo>
                  <a:cubicBezTo>
                    <a:pt x="723" y="333"/>
                    <a:pt x="756" y="423"/>
                    <a:pt x="756" y="423"/>
                  </a:cubicBezTo>
                  <a:cubicBezTo>
                    <a:pt x="472" y="423"/>
                    <a:pt x="472" y="423"/>
                    <a:pt x="472" y="423"/>
                  </a:cubicBezTo>
                  <a:cubicBezTo>
                    <a:pt x="457" y="423"/>
                    <a:pt x="446" y="434"/>
                    <a:pt x="442" y="449"/>
                  </a:cubicBezTo>
                  <a:cubicBezTo>
                    <a:pt x="438" y="467"/>
                    <a:pt x="453" y="482"/>
                    <a:pt x="472" y="482"/>
                  </a:cubicBezTo>
                  <a:cubicBezTo>
                    <a:pt x="588" y="482"/>
                    <a:pt x="588" y="482"/>
                    <a:pt x="588" y="482"/>
                  </a:cubicBezTo>
                  <a:cubicBezTo>
                    <a:pt x="565" y="658"/>
                    <a:pt x="565" y="658"/>
                    <a:pt x="565" y="658"/>
                  </a:cubicBezTo>
                  <a:cubicBezTo>
                    <a:pt x="165" y="658"/>
                    <a:pt x="165" y="658"/>
                    <a:pt x="165" y="658"/>
                  </a:cubicBezTo>
                  <a:cubicBezTo>
                    <a:pt x="192" y="512"/>
                    <a:pt x="192" y="512"/>
                    <a:pt x="192" y="512"/>
                  </a:cubicBezTo>
                  <a:cubicBezTo>
                    <a:pt x="195" y="497"/>
                    <a:pt x="206" y="482"/>
                    <a:pt x="229" y="482"/>
                  </a:cubicBezTo>
                  <a:cubicBezTo>
                    <a:pt x="330" y="479"/>
                    <a:pt x="330" y="479"/>
                    <a:pt x="330" y="479"/>
                  </a:cubicBezTo>
                  <a:lnTo>
                    <a:pt x="330" y="479"/>
                  </a:lnTo>
                  <a:cubicBezTo>
                    <a:pt x="345" y="479"/>
                    <a:pt x="356" y="471"/>
                    <a:pt x="360" y="456"/>
                  </a:cubicBezTo>
                  <a:cubicBezTo>
                    <a:pt x="367" y="438"/>
                    <a:pt x="352" y="419"/>
                    <a:pt x="330" y="419"/>
                  </a:cubicBezTo>
                  <a:cubicBezTo>
                    <a:pt x="229" y="423"/>
                    <a:pt x="229" y="423"/>
                    <a:pt x="229" y="423"/>
                  </a:cubicBezTo>
                  <a:lnTo>
                    <a:pt x="229" y="423"/>
                  </a:lnTo>
                  <a:cubicBezTo>
                    <a:pt x="184" y="423"/>
                    <a:pt x="143" y="452"/>
                    <a:pt x="132" y="501"/>
                  </a:cubicBezTo>
                  <a:lnTo>
                    <a:pt x="132" y="501"/>
                  </a:lnTo>
                  <a:cubicBezTo>
                    <a:pt x="16" y="1156"/>
                    <a:pt x="16" y="1156"/>
                    <a:pt x="16" y="1156"/>
                  </a:cubicBezTo>
                  <a:lnTo>
                    <a:pt x="16" y="1156"/>
                  </a:lnTo>
                  <a:lnTo>
                    <a:pt x="16" y="1156"/>
                  </a:lnTo>
                  <a:cubicBezTo>
                    <a:pt x="1" y="1238"/>
                    <a:pt x="1" y="1238"/>
                    <a:pt x="1" y="1238"/>
                  </a:cubicBezTo>
                  <a:cubicBezTo>
                    <a:pt x="-3" y="1268"/>
                    <a:pt x="5" y="1297"/>
                    <a:pt x="23" y="1320"/>
                  </a:cubicBezTo>
                  <a:cubicBezTo>
                    <a:pt x="45" y="1346"/>
                    <a:pt x="76" y="1357"/>
                    <a:pt x="113" y="1357"/>
                  </a:cubicBezTo>
                  <a:cubicBezTo>
                    <a:pt x="876" y="1357"/>
                    <a:pt x="876" y="1357"/>
                    <a:pt x="876" y="1357"/>
                  </a:cubicBezTo>
                  <a:cubicBezTo>
                    <a:pt x="876" y="1470"/>
                    <a:pt x="876" y="1470"/>
                    <a:pt x="876" y="1470"/>
                  </a:cubicBezTo>
                  <a:cubicBezTo>
                    <a:pt x="816" y="1470"/>
                    <a:pt x="816" y="1470"/>
                    <a:pt x="816" y="1470"/>
                  </a:cubicBezTo>
                  <a:cubicBezTo>
                    <a:pt x="760" y="1470"/>
                    <a:pt x="715" y="1514"/>
                    <a:pt x="715" y="1570"/>
                  </a:cubicBezTo>
                  <a:cubicBezTo>
                    <a:pt x="715" y="1619"/>
                    <a:pt x="715" y="1619"/>
                    <a:pt x="715" y="1619"/>
                  </a:cubicBezTo>
                  <a:cubicBezTo>
                    <a:pt x="659" y="1619"/>
                    <a:pt x="659" y="1619"/>
                    <a:pt x="659" y="1619"/>
                  </a:cubicBezTo>
                  <a:cubicBezTo>
                    <a:pt x="599" y="1619"/>
                    <a:pt x="550" y="1668"/>
                    <a:pt x="550" y="1727"/>
                  </a:cubicBezTo>
                  <a:cubicBezTo>
                    <a:pt x="550" y="1795"/>
                    <a:pt x="550" y="1795"/>
                    <a:pt x="550" y="1795"/>
                  </a:cubicBezTo>
                  <a:cubicBezTo>
                    <a:pt x="550" y="1821"/>
                    <a:pt x="573" y="1843"/>
                    <a:pt x="599" y="1843"/>
                  </a:cubicBezTo>
                  <a:cubicBezTo>
                    <a:pt x="1425" y="1843"/>
                    <a:pt x="1425" y="1843"/>
                    <a:pt x="1425" y="1843"/>
                  </a:cubicBezTo>
                  <a:cubicBezTo>
                    <a:pt x="1452" y="1843"/>
                    <a:pt x="1470" y="1821"/>
                    <a:pt x="1470" y="1795"/>
                  </a:cubicBezTo>
                  <a:cubicBezTo>
                    <a:pt x="1470" y="1727"/>
                    <a:pt x="1470" y="1727"/>
                    <a:pt x="1470" y="1727"/>
                  </a:cubicBezTo>
                  <a:cubicBezTo>
                    <a:pt x="1470" y="1668"/>
                    <a:pt x="1422" y="1619"/>
                    <a:pt x="1362" y="1619"/>
                  </a:cubicBezTo>
                  <a:cubicBezTo>
                    <a:pt x="1309" y="1619"/>
                    <a:pt x="1309" y="1619"/>
                    <a:pt x="1309" y="1619"/>
                  </a:cubicBezTo>
                  <a:cubicBezTo>
                    <a:pt x="1309" y="1570"/>
                    <a:pt x="1309" y="1570"/>
                    <a:pt x="1309" y="1570"/>
                  </a:cubicBezTo>
                  <a:cubicBezTo>
                    <a:pt x="1309" y="1514"/>
                    <a:pt x="1261" y="1470"/>
                    <a:pt x="1205" y="1470"/>
                  </a:cubicBezTo>
                  <a:cubicBezTo>
                    <a:pt x="1145" y="1470"/>
                    <a:pt x="1145" y="1470"/>
                    <a:pt x="1145" y="1470"/>
                  </a:cubicBezTo>
                  <a:cubicBezTo>
                    <a:pt x="1145" y="1357"/>
                    <a:pt x="1145" y="1357"/>
                    <a:pt x="1145" y="1357"/>
                  </a:cubicBezTo>
                  <a:cubicBezTo>
                    <a:pt x="1373" y="1357"/>
                    <a:pt x="1373" y="1357"/>
                    <a:pt x="1373" y="1357"/>
                  </a:cubicBezTo>
                  <a:cubicBezTo>
                    <a:pt x="1388" y="1357"/>
                    <a:pt x="1403" y="1346"/>
                    <a:pt x="1407" y="1331"/>
                  </a:cubicBezTo>
                  <a:cubicBezTo>
                    <a:pt x="1407" y="1312"/>
                    <a:pt x="1392" y="1297"/>
                    <a:pt x="1373" y="1297"/>
                  </a:cubicBezTo>
                  <a:cubicBezTo>
                    <a:pt x="105" y="1297"/>
                    <a:pt x="105" y="1297"/>
                    <a:pt x="105" y="1297"/>
                  </a:cubicBezTo>
                  <a:cubicBezTo>
                    <a:pt x="90" y="1297"/>
                    <a:pt x="76" y="1290"/>
                    <a:pt x="64" y="1283"/>
                  </a:cubicBezTo>
                  <a:cubicBezTo>
                    <a:pt x="57" y="1271"/>
                    <a:pt x="57" y="1260"/>
                    <a:pt x="57" y="1245"/>
                  </a:cubicBezTo>
                  <a:cubicBezTo>
                    <a:pt x="64" y="1193"/>
                    <a:pt x="64" y="1193"/>
                    <a:pt x="64" y="1193"/>
                  </a:cubicBezTo>
                  <a:cubicBezTo>
                    <a:pt x="1960" y="1193"/>
                    <a:pt x="1960" y="1193"/>
                    <a:pt x="1960" y="1193"/>
                  </a:cubicBezTo>
                  <a:cubicBezTo>
                    <a:pt x="1967" y="1245"/>
                    <a:pt x="1967" y="1245"/>
                    <a:pt x="1967" y="1245"/>
                  </a:cubicBezTo>
                  <a:cubicBezTo>
                    <a:pt x="1971" y="1260"/>
                    <a:pt x="1967" y="1271"/>
                    <a:pt x="1960" y="1283"/>
                  </a:cubicBezTo>
                  <a:cubicBezTo>
                    <a:pt x="1949" y="1290"/>
                    <a:pt x="1938" y="1297"/>
                    <a:pt x="1919" y="1297"/>
                  </a:cubicBezTo>
                  <a:cubicBezTo>
                    <a:pt x="1519" y="1297"/>
                    <a:pt x="1519" y="1297"/>
                    <a:pt x="1519" y="1297"/>
                  </a:cubicBezTo>
                  <a:cubicBezTo>
                    <a:pt x="1504" y="1297"/>
                    <a:pt x="1489" y="1309"/>
                    <a:pt x="1485" y="1324"/>
                  </a:cubicBezTo>
                  <a:cubicBezTo>
                    <a:pt x="1485" y="1342"/>
                    <a:pt x="1500" y="1357"/>
                    <a:pt x="1519" y="1357"/>
                  </a:cubicBezTo>
                  <a:cubicBezTo>
                    <a:pt x="1915" y="1357"/>
                    <a:pt x="1915" y="1357"/>
                    <a:pt x="1915" y="1357"/>
                  </a:cubicBezTo>
                  <a:cubicBezTo>
                    <a:pt x="1953" y="1357"/>
                    <a:pt x="1983" y="1346"/>
                    <a:pt x="2005" y="1320"/>
                  </a:cubicBezTo>
                  <a:cubicBezTo>
                    <a:pt x="2024" y="1297"/>
                    <a:pt x="2031" y="1268"/>
                    <a:pt x="2024" y="1234"/>
                  </a:cubicBezTo>
                  <a:moveTo>
                    <a:pt x="1410" y="1727"/>
                  </a:moveTo>
                  <a:lnTo>
                    <a:pt x="1410" y="1727"/>
                  </a:lnTo>
                  <a:cubicBezTo>
                    <a:pt x="1410" y="1780"/>
                    <a:pt x="1410" y="1780"/>
                    <a:pt x="1410" y="1780"/>
                  </a:cubicBezTo>
                  <a:cubicBezTo>
                    <a:pt x="614" y="1780"/>
                    <a:pt x="614" y="1780"/>
                    <a:pt x="614" y="1780"/>
                  </a:cubicBezTo>
                  <a:cubicBezTo>
                    <a:pt x="614" y="1727"/>
                    <a:pt x="614" y="1727"/>
                    <a:pt x="614" y="1727"/>
                  </a:cubicBezTo>
                  <a:cubicBezTo>
                    <a:pt x="614" y="1701"/>
                    <a:pt x="633" y="1679"/>
                    <a:pt x="659" y="1679"/>
                  </a:cubicBezTo>
                  <a:cubicBezTo>
                    <a:pt x="745" y="1679"/>
                    <a:pt x="745" y="1679"/>
                    <a:pt x="745" y="1679"/>
                  </a:cubicBezTo>
                  <a:cubicBezTo>
                    <a:pt x="1276" y="1679"/>
                    <a:pt x="1276" y="1679"/>
                    <a:pt x="1276" y="1679"/>
                  </a:cubicBezTo>
                  <a:cubicBezTo>
                    <a:pt x="1362" y="1679"/>
                    <a:pt x="1362" y="1679"/>
                    <a:pt x="1362" y="1679"/>
                  </a:cubicBezTo>
                  <a:cubicBezTo>
                    <a:pt x="1388" y="1679"/>
                    <a:pt x="1410" y="1701"/>
                    <a:pt x="1410" y="1727"/>
                  </a:cubicBezTo>
                  <a:moveTo>
                    <a:pt x="1246" y="1570"/>
                  </a:moveTo>
                  <a:lnTo>
                    <a:pt x="1246" y="1570"/>
                  </a:lnTo>
                  <a:cubicBezTo>
                    <a:pt x="1246" y="1619"/>
                    <a:pt x="1246" y="1619"/>
                    <a:pt x="1246" y="1619"/>
                  </a:cubicBezTo>
                  <a:cubicBezTo>
                    <a:pt x="775" y="1619"/>
                    <a:pt x="775" y="1619"/>
                    <a:pt x="775" y="1619"/>
                  </a:cubicBezTo>
                  <a:cubicBezTo>
                    <a:pt x="775" y="1570"/>
                    <a:pt x="775" y="1570"/>
                    <a:pt x="775" y="1570"/>
                  </a:cubicBezTo>
                  <a:cubicBezTo>
                    <a:pt x="775" y="1548"/>
                    <a:pt x="794" y="1529"/>
                    <a:pt x="816" y="1529"/>
                  </a:cubicBezTo>
                  <a:cubicBezTo>
                    <a:pt x="906" y="1529"/>
                    <a:pt x="906" y="1529"/>
                    <a:pt x="906" y="1529"/>
                  </a:cubicBezTo>
                  <a:lnTo>
                    <a:pt x="906" y="1529"/>
                  </a:lnTo>
                  <a:cubicBezTo>
                    <a:pt x="1205" y="1529"/>
                    <a:pt x="1205" y="1529"/>
                    <a:pt x="1205" y="1529"/>
                  </a:cubicBezTo>
                  <a:cubicBezTo>
                    <a:pt x="1227" y="1529"/>
                    <a:pt x="1246" y="1548"/>
                    <a:pt x="1246" y="1570"/>
                  </a:cubicBezTo>
                  <a:moveTo>
                    <a:pt x="1085" y="1470"/>
                  </a:moveTo>
                  <a:lnTo>
                    <a:pt x="1085" y="1470"/>
                  </a:lnTo>
                  <a:cubicBezTo>
                    <a:pt x="939" y="1470"/>
                    <a:pt x="939" y="1470"/>
                    <a:pt x="939" y="1470"/>
                  </a:cubicBezTo>
                  <a:cubicBezTo>
                    <a:pt x="939" y="1357"/>
                    <a:pt x="939" y="1357"/>
                    <a:pt x="939" y="1357"/>
                  </a:cubicBezTo>
                  <a:cubicBezTo>
                    <a:pt x="1085" y="1357"/>
                    <a:pt x="1085" y="1357"/>
                    <a:pt x="1085" y="1357"/>
                  </a:cubicBezTo>
                  <a:cubicBezTo>
                    <a:pt x="1085" y="1470"/>
                    <a:pt x="1085" y="1470"/>
                    <a:pt x="1085" y="1470"/>
                  </a:cubicBezTo>
                  <a:moveTo>
                    <a:pt x="984" y="953"/>
                  </a:moveTo>
                  <a:lnTo>
                    <a:pt x="984" y="953"/>
                  </a:lnTo>
                  <a:cubicBezTo>
                    <a:pt x="984" y="1129"/>
                    <a:pt x="984" y="1129"/>
                    <a:pt x="984" y="1129"/>
                  </a:cubicBezTo>
                  <a:cubicBezTo>
                    <a:pt x="565" y="1129"/>
                    <a:pt x="565" y="1129"/>
                    <a:pt x="565" y="1129"/>
                  </a:cubicBezTo>
                  <a:cubicBezTo>
                    <a:pt x="588" y="953"/>
                    <a:pt x="588" y="953"/>
                    <a:pt x="588" y="953"/>
                  </a:cubicBezTo>
                  <a:lnTo>
                    <a:pt x="984" y="953"/>
                  </a:lnTo>
                  <a:moveTo>
                    <a:pt x="599" y="893"/>
                  </a:moveTo>
                  <a:lnTo>
                    <a:pt x="599" y="893"/>
                  </a:lnTo>
                  <a:cubicBezTo>
                    <a:pt x="621" y="718"/>
                    <a:pt x="621" y="718"/>
                    <a:pt x="621" y="718"/>
                  </a:cubicBezTo>
                  <a:cubicBezTo>
                    <a:pt x="984" y="718"/>
                    <a:pt x="984" y="718"/>
                    <a:pt x="984" y="718"/>
                  </a:cubicBezTo>
                  <a:cubicBezTo>
                    <a:pt x="984" y="893"/>
                    <a:pt x="984" y="893"/>
                    <a:pt x="984" y="893"/>
                  </a:cubicBezTo>
                  <a:lnTo>
                    <a:pt x="599" y="893"/>
                  </a:lnTo>
                  <a:moveTo>
                    <a:pt x="1044" y="953"/>
                  </a:moveTo>
                  <a:lnTo>
                    <a:pt x="1044" y="953"/>
                  </a:lnTo>
                  <a:cubicBezTo>
                    <a:pt x="1437" y="953"/>
                    <a:pt x="1437" y="953"/>
                    <a:pt x="1437" y="953"/>
                  </a:cubicBezTo>
                  <a:cubicBezTo>
                    <a:pt x="1463" y="1129"/>
                    <a:pt x="1463" y="1129"/>
                    <a:pt x="1463" y="1129"/>
                  </a:cubicBezTo>
                  <a:cubicBezTo>
                    <a:pt x="1044" y="1129"/>
                    <a:pt x="1044" y="1129"/>
                    <a:pt x="1044" y="1129"/>
                  </a:cubicBezTo>
                  <a:lnTo>
                    <a:pt x="1044" y="953"/>
                  </a:lnTo>
                  <a:moveTo>
                    <a:pt x="1044" y="893"/>
                  </a:moveTo>
                  <a:lnTo>
                    <a:pt x="1044" y="893"/>
                  </a:lnTo>
                  <a:cubicBezTo>
                    <a:pt x="1044" y="718"/>
                    <a:pt x="1044" y="718"/>
                    <a:pt x="1044" y="718"/>
                  </a:cubicBezTo>
                  <a:cubicBezTo>
                    <a:pt x="1407" y="718"/>
                    <a:pt x="1407" y="718"/>
                    <a:pt x="1407" y="718"/>
                  </a:cubicBezTo>
                  <a:cubicBezTo>
                    <a:pt x="1429" y="893"/>
                    <a:pt x="1429" y="893"/>
                    <a:pt x="1429" y="893"/>
                  </a:cubicBezTo>
                  <a:lnTo>
                    <a:pt x="1044" y="893"/>
                  </a:lnTo>
                  <a:moveTo>
                    <a:pt x="1044" y="479"/>
                  </a:moveTo>
                  <a:lnTo>
                    <a:pt x="1044" y="479"/>
                  </a:lnTo>
                  <a:cubicBezTo>
                    <a:pt x="1212" y="479"/>
                    <a:pt x="1212" y="479"/>
                    <a:pt x="1212" y="479"/>
                  </a:cubicBezTo>
                  <a:lnTo>
                    <a:pt x="1216" y="482"/>
                  </a:lnTo>
                  <a:cubicBezTo>
                    <a:pt x="1373" y="482"/>
                    <a:pt x="1373" y="482"/>
                    <a:pt x="1373" y="482"/>
                  </a:cubicBezTo>
                  <a:cubicBezTo>
                    <a:pt x="1396" y="658"/>
                    <a:pt x="1396" y="658"/>
                    <a:pt x="1396" y="658"/>
                  </a:cubicBezTo>
                  <a:cubicBezTo>
                    <a:pt x="1044" y="658"/>
                    <a:pt x="1044" y="658"/>
                    <a:pt x="1044" y="658"/>
                  </a:cubicBezTo>
                  <a:lnTo>
                    <a:pt x="1044" y="479"/>
                  </a:lnTo>
                  <a:moveTo>
                    <a:pt x="1470" y="718"/>
                  </a:moveTo>
                  <a:lnTo>
                    <a:pt x="1470" y="718"/>
                  </a:lnTo>
                  <a:cubicBezTo>
                    <a:pt x="1871" y="718"/>
                    <a:pt x="1871" y="718"/>
                    <a:pt x="1871" y="718"/>
                  </a:cubicBezTo>
                  <a:cubicBezTo>
                    <a:pt x="1900" y="893"/>
                    <a:pt x="1900" y="893"/>
                    <a:pt x="1900" y="893"/>
                  </a:cubicBezTo>
                  <a:cubicBezTo>
                    <a:pt x="1493" y="893"/>
                    <a:pt x="1493" y="893"/>
                    <a:pt x="1493" y="893"/>
                  </a:cubicBezTo>
                  <a:lnTo>
                    <a:pt x="1470" y="718"/>
                  </a:lnTo>
                  <a:moveTo>
                    <a:pt x="1833" y="512"/>
                  </a:moveTo>
                  <a:lnTo>
                    <a:pt x="1833" y="512"/>
                  </a:lnTo>
                  <a:cubicBezTo>
                    <a:pt x="1859" y="658"/>
                    <a:pt x="1859" y="658"/>
                    <a:pt x="1859" y="658"/>
                  </a:cubicBezTo>
                  <a:cubicBezTo>
                    <a:pt x="1463" y="658"/>
                    <a:pt x="1463" y="658"/>
                    <a:pt x="1463" y="658"/>
                  </a:cubicBezTo>
                  <a:cubicBezTo>
                    <a:pt x="1437" y="482"/>
                    <a:pt x="1437" y="482"/>
                    <a:pt x="1437" y="482"/>
                  </a:cubicBezTo>
                  <a:cubicBezTo>
                    <a:pt x="1795" y="482"/>
                    <a:pt x="1795" y="482"/>
                    <a:pt x="1795" y="482"/>
                  </a:cubicBezTo>
                  <a:cubicBezTo>
                    <a:pt x="1814" y="482"/>
                    <a:pt x="1829" y="497"/>
                    <a:pt x="1833" y="512"/>
                  </a:cubicBezTo>
                  <a:moveTo>
                    <a:pt x="786" y="288"/>
                  </a:moveTo>
                  <a:lnTo>
                    <a:pt x="786" y="288"/>
                  </a:lnTo>
                  <a:cubicBezTo>
                    <a:pt x="786" y="161"/>
                    <a:pt x="887" y="60"/>
                    <a:pt x="1014" y="60"/>
                  </a:cubicBezTo>
                  <a:cubicBezTo>
                    <a:pt x="1137" y="60"/>
                    <a:pt x="1238" y="161"/>
                    <a:pt x="1238" y="288"/>
                  </a:cubicBezTo>
                  <a:cubicBezTo>
                    <a:pt x="1238" y="336"/>
                    <a:pt x="1227" y="381"/>
                    <a:pt x="1197" y="419"/>
                  </a:cubicBezTo>
                  <a:cubicBezTo>
                    <a:pt x="1014" y="423"/>
                    <a:pt x="1014" y="423"/>
                    <a:pt x="1014" y="423"/>
                  </a:cubicBezTo>
                  <a:cubicBezTo>
                    <a:pt x="827" y="423"/>
                    <a:pt x="827" y="423"/>
                    <a:pt x="827" y="423"/>
                  </a:cubicBezTo>
                  <a:cubicBezTo>
                    <a:pt x="801" y="381"/>
                    <a:pt x="786" y="336"/>
                    <a:pt x="786" y="288"/>
                  </a:cubicBezTo>
                  <a:moveTo>
                    <a:pt x="655" y="482"/>
                  </a:moveTo>
                  <a:lnTo>
                    <a:pt x="655" y="482"/>
                  </a:lnTo>
                  <a:cubicBezTo>
                    <a:pt x="812" y="482"/>
                    <a:pt x="812" y="482"/>
                    <a:pt x="812" y="482"/>
                  </a:cubicBezTo>
                  <a:cubicBezTo>
                    <a:pt x="984" y="482"/>
                    <a:pt x="984" y="482"/>
                    <a:pt x="984" y="482"/>
                  </a:cubicBezTo>
                  <a:cubicBezTo>
                    <a:pt x="984" y="658"/>
                    <a:pt x="984" y="658"/>
                    <a:pt x="984" y="658"/>
                  </a:cubicBezTo>
                  <a:cubicBezTo>
                    <a:pt x="629" y="658"/>
                    <a:pt x="629" y="658"/>
                    <a:pt x="629" y="658"/>
                  </a:cubicBezTo>
                  <a:lnTo>
                    <a:pt x="655" y="482"/>
                  </a:lnTo>
                  <a:moveTo>
                    <a:pt x="554" y="718"/>
                  </a:moveTo>
                  <a:lnTo>
                    <a:pt x="554" y="718"/>
                  </a:lnTo>
                  <a:cubicBezTo>
                    <a:pt x="532" y="893"/>
                    <a:pt x="532" y="893"/>
                    <a:pt x="532" y="893"/>
                  </a:cubicBezTo>
                  <a:cubicBezTo>
                    <a:pt x="124" y="893"/>
                    <a:pt x="124" y="893"/>
                    <a:pt x="124" y="893"/>
                  </a:cubicBezTo>
                  <a:cubicBezTo>
                    <a:pt x="154" y="718"/>
                    <a:pt x="154" y="718"/>
                    <a:pt x="154" y="718"/>
                  </a:cubicBezTo>
                  <a:cubicBezTo>
                    <a:pt x="554" y="718"/>
                    <a:pt x="554" y="718"/>
                    <a:pt x="554" y="718"/>
                  </a:cubicBezTo>
                  <a:moveTo>
                    <a:pt x="113" y="953"/>
                  </a:moveTo>
                  <a:lnTo>
                    <a:pt x="113" y="953"/>
                  </a:lnTo>
                  <a:cubicBezTo>
                    <a:pt x="520" y="953"/>
                    <a:pt x="520" y="953"/>
                    <a:pt x="520" y="953"/>
                  </a:cubicBezTo>
                  <a:cubicBezTo>
                    <a:pt x="498" y="1129"/>
                    <a:pt x="498" y="1129"/>
                    <a:pt x="498" y="1129"/>
                  </a:cubicBezTo>
                  <a:lnTo>
                    <a:pt x="498" y="1129"/>
                  </a:lnTo>
                  <a:cubicBezTo>
                    <a:pt x="79" y="1129"/>
                    <a:pt x="79" y="1129"/>
                    <a:pt x="79" y="1129"/>
                  </a:cubicBezTo>
                  <a:lnTo>
                    <a:pt x="113" y="953"/>
                  </a:lnTo>
                  <a:moveTo>
                    <a:pt x="1526" y="1129"/>
                  </a:moveTo>
                  <a:lnTo>
                    <a:pt x="1526" y="1129"/>
                  </a:lnTo>
                  <a:lnTo>
                    <a:pt x="1526" y="1129"/>
                  </a:lnTo>
                  <a:cubicBezTo>
                    <a:pt x="1504" y="953"/>
                    <a:pt x="1504" y="953"/>
                    <a:pt x="1504" y="953"/>
                  </a:cubicBezTo>
                  <a:cubicBezTo>
                    <a:pt x="1911" y="953"/>
                    <a:pt x="1911" y="953"/>
                    <a:pt x="1911" y="953"/>
                  </a:cubicBezTo>
                  <a:cubicBezTo>
                    <a:pt x="1945" y="1129"/>
                    <a:pt x="1945" y="1129"/>
                    <a:pt x="1945" y="1129"/>
                  </a:cubicBezTo>
                  <a:lnTo>
                    <a:pt x="1526" y="1129"/>
                  </a:lnTo>
                  <a:close/>
                </a:path>
              </a:pathLst>
            </a:custGeom>
            <a:solidFill>
              <a:schemeClr val="lt1"/>
            </a:solidFill>
            <a:ln>
              <a:noFill/>
            </a:ln>
          </p:spPr>
          <p:txBody>
            <a:bodyPr spcFirstLastPara="1" wrap="square" lIns="90000" tIns="45000" rIns="90000" bIns="45000" anchor="ctr" anchorCtr="1">
              <a:noAutofit/>
            </a:bodyPr>
            <a:lstStyle/>
            <a:p>
              <a:pPr marL="0" marR="0" lvl="0" indent="0" algn="l" rtl="0">
                <a:spcBef>
                  <a:spcPts val="0"/>
                </a:spcBef>
                <a:spcAft>
                  <a:spcPts val="0"/>
                </a:spcAft>
                <a:buNone/>
              </a:pPr>
              <a:endParaRPr sz="1800" b="1" strike="noStrike">
                <a:solidFill>
                  <a:srgbClr val="FFFFFF"/>
                </a:solidFill>
                <a:latin typeface="Arial"/>
                <a:ea typeface="Arial"/>
                <a:cs typeface="Arial"/>
                <a:sym typeface="Arial"/>
              </a:endParaRPr>
            </a:p>
          </p:txBody>
        </p:sp>
      </p:grpSp>
    </p:spTree>
    <p:extLst>
      <p:ext uri="{BB962C8B-B14F-4D97-AF65-F5344CB8AC3E}">
        <p14:creationId xmlns:p14="http://schemas.microsoft.com/office/powerpoint/2010/main" val="118354216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1B32D40-132C-ACEC-A7E9-9D8630D4E82D}"/>
              </a:ext>
            </a:extLst>
          </p:cNvPr>
          <p:cNvSpPr>
            <a:spLocks noGrp="1"/>
          </p:cNvSpPr>
          <p:nvPr>
            <p:ph type="sldNum" sz="quarter" idx="4"/>
          </p:nvPr>
        </p:nvSpPr>
        <p:spPr/>
        <p:txBody>
          <a:bodyPr/>
          <a:lstStyle/>
          <a:p>
            <a:fld id="{DF7F771E-9578-4C04-B869-01AF4C35C90C}" type="slidenum">
              <a:rPr lang="de-DE" smtClean="0"/>
              <a:t>60</a:t>
            </a:fld>
            <a:endParaRPr lang="de-DE"/>
          </a:p>
        </p:txBody>
      </p:sp>
      <p:sp>
        <p:nvSpPr>
          <p:cNvPr id="6" name="Rechteck 5">
            <a:extLst>
              <a:ext uri="{FF2B5EF4-FFF2-40B4-BE49-F238E27FC236}">
                <a16:creationId xmlns:a16="http://schemas.microsoft.com/office/drawing/2014/main" id="{0A47C708-E4CE-9673-B7B7-6A6E118FA842}"/>
              </a:ext>
            </a:extLst>
          </p:cNvPr>
          <p:cNvSpPr/>
          <p:nvPr/>
        </p:nvSpPr>
        <p:spPr>
          <a:xfrm>
            <a:off x="719138" y="1596646"/>
            <a:ext cx="5740172" cy="3981193"/>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9CEA84CF-6F4D-D56B-835D-830C01DCD24A}"/>
              </a:ext>
            </a:extLst>
          </p:cNvPr>
          <p:cNvSpPr>
            <a:spLocks noChangeAspect="1"/>
          </p:cNvSpPr>
          <p:nvPr/>
        </p:nvSpPr>
        <p:spPr>
          <a:xfrm>
            <a:off x="6128978" y="1277938"/>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descr="Lesezeichen mit einfarbiger Füllung">
            <a:extLst>
              <a:ext uri="{FF2B5EF4-FFF2-40B4-BE49-F238E27FC236}">
                <a16:creationId xmlns:a16="http://schemas.microsoft.com/office/drawing/2014/main" id="{587C61FD-0315-63CB-2B85-B812D68EF1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1405785"/>
            <a:ext cx="404450" cy="404450"/>
          </a:xfrm>
          <a:prstGeom prst="rect">
            <a:avLst/>
          </a:prstGeom>
        </p:spPr>
      </p:pic>
      <p:sp>
        <p:nvSpPr>
          <p:cNvPr id="9" name="Untertitel 5">
            <a:extLst>
              <a:ext uri="{FF2B5EF4-FFF2-40B4-BE49-F238E27FC236}">
                <a16:creationId xmlns:a16="http://schemas.microsoft.com/office/drawing/2014/main" id="{E4E1946A-CDC7-1DB6-2A41-C143F4A9F503}"/>
              </a:ext>
            </a:extLst>
          </p:cNvPr>
          <p:cNvSpPr txBox="1">
            <a:spLocks/>
          </p:cNvSpPr>
          <p:nvPr/>
        </p:nvSpPr>
        <p:spPr>
          <a:xfrm>
            <a:off x="894164" y="169627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10" name="Untertitel 2">
            <a:extLst>
              <a:ext uri="{FF2B5EF4-FFF2-40B4-BE49-F238E27FC236}">
                <a16:creationId xmlns:a16="http://schemas.microsoft.com/office/drawing/2014/main" id="{EFE2CA1A-8B36-B2A1-5A2A-0E8CC9646B5A}"/>
              </a:ext>
            </a:extLst>
          </p:cNvPr>
          <p:cNvSpPr txBox="1">
            <a:spLocks/>
          </p:cNvSpPr>
          <p:nvPr/>
        </p:nvSpPr>
        <p:spPr>
          <a:xfrm>
            <a:off x="1103983" y="2189700"/>
            <a:ext cx="4979684" cy="315620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Maximum Power Point Tracking (MPPT) is a technology used in solar applications, like a solar-powered car, to ensure that the solar cells are always operating at their most efficient point, known as the Maximum Power Point (MPP).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The MPP varies with sunlight intensity and temperature, affecting the energy output of the solar cells.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An MPPT controller is crucial in this system; it continually monitors the energy produced by the solar cells and the changing environmental conditions. It then adjusts the electrical load dynamically so that the solar cells operate at the MPP at all times. This optimization allows the solar-powered car to achieve maximum energy efficiency, enabling it to run faster and longer, even under fluctuating sunlight and temperature conditions.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Without MPPT, the car would not utilize solar energy optimally, leading to reduced performance and speed.…</a:t>
            </a:r>
          </a:p>
        </p:txBody>
      </p:sp>
    </p:spTree>
    <p:extLst>
      <p:ext uri="{BB962C8B-B14F-4D97-AF65-F5344CB8AC3E}">
        <p14:creationId xmlns:p14="http://schemas.microsoft.com/office/powerpoint/2010/main" val="25738437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6F0340A-2ABA-7FD9-AF23-5354840287CC}"/>
              </a:ext>
            </a:extLst>
          </p:cNvPr>
          <p:cNvSpPr>
            <a:spLocks noGrp="1"/>
          </p:cNvSpPr>
          <p:nvPr>
            <p:ph type="sldNum" sz="quarter" idx="4"/>
          </p:nvPr>
        </p:nvSpPr>
        <p:spPr/>
        <p:txBody>
          <a:bodyPr/>
          <a:lstStyle/>
          <a:p>
            <a:fld id="{DF7F771E-9578-4C04-B869-01AF4C35C90C}" type="slidenum">
              <a:rPr lang="de-DE" smtClean="0"/>
              <a:t>61</a:t>
            </a:fld>
            <a:endParaRPr lang="de-DE"/>
          </a:p>
        </p:txBody>
      </p:sp>
      <p:sp>
        <p:nvSpPr>
          <p:cNvPr id="4" name="Titel 1">
            <a:extLst>
              <a:ext uri="{FF2B5EF4-FFF2-40B4-BE49-F238E27FC236}">
                <a16:creationId xmlns:a16="http://schemas.microsoft.com/office/drawing/2014/main" id="{608B9CD9-BB85-02E1-564A-BA2174DF973B}"/>
              </a:ext>
            </a:extLst>
          </p:cNvPr>
          <p:cNvSpPr txBox="1">
            <a:spLocks/>
          </p:cNvSpPr>
          <p:nvPr/>
        </p:nvSpPr>
        <p:spPr>
          <a:xfrm>
            <a:off x="589649" y="1121461"/>
            <a:ext cx="6380336" cy="63603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de-DE"/>
              <a:t>2. Controlling </a:t>
            </a:r>
            <a:r>
              <a:rPr lang="de-DE" err="1"/>
              <a:t>the</a:t>
            </a:r>
            <a:r>
              <a:rPr lang="de-DE"/>
              <a:t> MPPT</a:t>
            </a:r>
          </a:p>
        </p:txBody>
      </p:sp>
      <p:sp>
        <p:nvSpPr>
          <p:cNvPr id="5" name="Untertitel 3">
            <a:extLst>
              <a:ext uri="{FF2B5EF4-FFF2-40B4-BE49-F238E27FC236}">
                <a16:creationId xmlns:a16="http://schemas.microsoft.com/office/drawing/2014/main" id="{AF2B5864-513F-41EE-D67B-39145D6B1F8B}"/>
              </a:ext>
            </a:extLst>
          </p:cNvPr>
          <p:cNvSpPr txBox="1">
            <a:spLocks/>
          </p:cNvSpPr>
          <p:nvPr/>
        </p:nvSpPr>
        <p:spPr>
          <a:xfrm>
            <a:off x="719138" y="1944537"/>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In this chapter, we want to find out how we can track MPP</a:t>
            </a:r>
            <a:endParaRPr lang="de-DE"/>
          </a:p>
        </p:txBody>
      </p:sp>
      <p:sp>
        <p:nvSpPr>
          <p:cNvPr id="6" name="Untertitel 5">
            <a:extLst>
              <a:ext uri="{FF2B5EF4-FFF2-40B4-BE49-F238E27FC236}">
                <a16:creationId xmlns:a16="http://schemas.microsoft.com/office/drawing/2014/main" id="{0FB45D56-0EB5-6E07-327B-B57C4704BA64}"/>
              </a:ext>
            </a:extLst>
          </p:cNvPr>
          <p:cNvSpPr txBox="1">
            <a:spLocks/>
          </p:cNvSpPr>
          <p:nvPr/>
        </p:nvSpPr>
        <p:spPr>
          <a:xfrm>
            <a:off x="1093302" y="2610885"/>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Experiment</a:t>
            </a:r>
          </a:p>
        </p:txBody>
      </p:sp>
      <p:sp>
        <p:nvSpPr>
          <p:cNvPr id="7" name="Ellipse 6">
            <a:extLst>
              <a:ext uri="{FF2B5EF4-FFF2-40B4-BE49-F238E27FC236}">
                <a16:creationId xmlns:a16="http://schemas.microsoft.com/office/drawing/2014/main" id="{04839B0E-01E2-8416-E209-4E37C5F30985}"/>
              </a:ext>
            </a:extLst>
          </p:cNvPr>
          <p:cNvSpPr>
            <a:spLocks noChangeAspect="1"/>
          </p:cNvSpPr>
          <p:nvPr/>
        </p:nvSpPr>
        <p:spPr>
          <a:xfrm>
            <a:off x="719138" y="2581390"/>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descr="Lupe mit einfarbiger Füllung">
            <a:extLst>
              <a:ext uri="{FF2B5EF4-FFF2-40B4-BE49-F238E27FC236}">
                <a16:creationId xmlns:a16="http://schemas.microsoft.com/office/drawing/2014/main" id="{EEC8267E-042F-9D09-A591-81AB9238C9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7211" y="2645070"/>
            <a:ext cx="333865" cy="333865"/>
          </a:xfrm>
          <a:prstGeom prst="rect">
            <a:avLst/>
          </a:prstGeom>
        </p:spPr>
      </p:pic>
      <p:sp>
        <p:nvSpPr>
          <p:cNvPr id="9" name="Untertitel 3">
            <a:extLst>
              <a:ext uri="{FF2B5EF4-FFF2-40B4-BE49-F238E27FC236}">
                <a16:creationId xmlns:a16="http://schemas.microsoft.com/office/drawing/2014/main" id="{D1E39B6B-112C-8BB6-F99B-4A5D50576E67}"/>
              </a:ext>
            </a:extLst>
          </p:cNvPr>
          <p:cNvSpPr txBox="1">
            <a:spLocks/>
          </p:cNvSpPr>
          <p:nvPr/>
        </p:nvSpPr>
        <p:spPr>
          <a:xfrm>
            <a:off x="719138" y="3229451"/>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Try to control the MPPT controller manually, as the load is changed.</a:t>
            </a:r>
            <a:endParaRPr lang="de-DE"/>
          </a:p>
        </p:txBody>
      </p:sp>
      <p:sp>
        <p:nvSpPr>
          <p:cNvPr id="10" name="Untertitel 5">
            <a:extLst>
              <a:ext uri="{FF2B5EF4-FFF2-40B4-BE49-F238E27FC236}">
                <a16:creationId xmlns:a16="http://schemas.microsoft.com/office/drawing/2014/main" id="{2AF29ED3-1CBE-3590-D1FD-72EA26E19BFE}"/>
              </a:ext>
            </a:extLst>
          </p:cNvPr>
          <p:cNvSpPr txBox="1">
            <a:spLocks/>
          </p:cNvSpPr>
          <p:nvPr/>
        </p:nvSpPr>
        <p:spPr>
          <a:xfrm>
            <a:off x="719138" y="4685063"/>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Task 1</a:t>
            </a:r>
            <a:endParaRPr lang="de-DE" sz="1200">
              <a:solidFill>
                <a:schemeClr val="accent2"/>
              </a:solidFill>
            </a:endParaRPr>
          </a:p>
        </p:txBody>
      </p:sp>
      <p:sp>
        <p:nvSpPr>
          <p:cNvPr id="11" name="Untertitel 3">
            <a:extLst>
              <a:ext uri="{FF2B5EF4-FFF2-40B4-BE49-F238E27FC236}">
                <a16:creationId xmlns:a16="http://schemas.microsoft.com/office/drawing/2014/main" id="{2334D9AF-3AB4-11AF-658A-8FCC607325CB}"/>
              </a:ext>
            </a:extLst>
          </p:cNvPr>
          <p:cNvSpPr txBox="1">
            <a:spLocks/>
          </p:cNvSpPr>
          <p:nvPr/>
        </p:nvSpPr>
        <p:spPr>
          <a:xfrm>
            <a:off x="719138" y="5103704"/>
            <a:ext cx="5933121" cy="112092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a:pPr>
            <a:r>
              <a:rPr lang="en-US"/>
              <a:t>What do you notice?</a:t>
            </a:r>
          </a:p>
          <a:p>
            <a:pPr marL="368300" indent="-228600">
              <a:buFont typeface="+mj-lt"/>
              <a:buAutoNum type="arabicPeriod"/>
            </a:pPr>
            <a:r>
              <a:rPr lang="en-US"/>
              <a:t>How can the MPP direction be estimated?</a:t>
            </a:r>
          </a:p>
          <a:p>
            <a:pPr marL="368300" indent="-228600">
              <a:buFont typeface="+mj-lt"/>
              <a:buAutoNum type="arabicPeriod"/>
            </a:pPr>
            <a:endParaRPr lang="en-US"/>
          </a:p>
          <a:p>
            <a:pPr marL="139700" indent="0"/>
            <a:r>
              <a:rPr lang="en-US"/>
              <a:t>Please discuss this with your seat neighbor. And write your guess in the following box:</a:t>
            </a:r>
          </a:p>
        </p:txBody>
      </p:sp>
      <p:sp>
        <p:nvSpPr>
          <p:cNvPr id="12" name="Untertitel 5">
            <a:extLst>
              <a:ext uri="{FF2B5EF4-FFF2-40B4-BE49-F238E27FC236}">
                <a16:creationId xmlns:a16="http://schemas.microsoft.com/office/drawing/2014/main" id="{AFD78371-79EE-593C-AAC0-433BDD3E91A3}"/>
              </a:ext>
            </a:extLst>
          </p:cNvPr>
          <p:cNvSpPr txBox="1">
            <a:spLocks/>
          </p:cNvSpPr>
          <p:nvPr/>
        </p:nvSpPr>
        <p:spPr>
          <a:xfrm>
            <a:off x="1137779" y="3967298"/>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3" name="Ellipse 12">
            <a:extLst>
              <a:ext uri="{FF2B5EF4-FFF2-40B4-BE49-F238E27FC236}">
                <a16:creationId xmlns:a16="http://schemas.microsoft.com/office/drawing/2014/main" id="{60E9D765-C1AE-A9C0-B18B-36FA871E4BA0}"/>
              </a:ext>
            </a:extLst>
          </p:cNvPr>
          <p:cNvSpPr>
            <a:spLocks noChangeAspect="1"/>
          </p:cNvSpPr>
          <p:nvPr/>
        </p:nvSpPr>
        <p:spPr>
          <a:xfrm>
            <a:off x="719138" y="3961362"/>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descr="Skizze mit einfarbiger Füllung">
            <a:extLst>
              <a:ext uri="{FF2B5EF4-FFF2-40B4-BE49-F238E27FC236}">
                <a16:creationId xmlns:a16="http://schemas.microsoft.com/office/drawing/2014/main" id="{4D444F41-A3E6-E8D1-068D-83AE0EDB86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3615" y="4025094"/>
            <a:ext cx="379044" cy="379044"/>
          </a:xfrm>
          <a:prstGeom prst="rect">
            <a:avLst/>
          </a:prstGeom>
        </p:spPr>
      </p:pic>
      <p:sp>
        <p:nvSpPr>
          <p:cNvPr id="15" name="Textfeld 11">
            <a:extLst>
              <a:ext uri="{FF2B5EF4-FFF2-40B4-BE49-F238E27FC236}">
                <a16:creationId xmlns:a16="http://schemas.microsoft.com/office/drawing/2014/main" id="{96BED98D-B12A-2473-EAA6-4F76E1C45768}"/>
              </a:ext>
            </a:extLst>
          </p:cNvPr>
          <p:cNvSpPr txBox="1"/>
          <p:nvPr/>
        </p:nvSpPr>
        <p:spPr>
          <a:xfrm>
            <a:off x="719138" y="6228853"/>
            <a:ext cx="5919009" cy="110285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effectLst/>
                <a:latin typeface="Times New Roman" panose="02020603050405020304" pitchFamily="18" charset="0"/>
                <a:ea typeface="Times New Roman" panose="02020603050405020304" pitchFamily="18" charset="0"/>
              </a:rPr>
              <a:t> </a:t>
            </a:r>
            <a:endParaRPr lang="de-DE" sz="1200">
              <a:effectLst/>
              <a:latin typeface="Times New Roman" panose="02020603050405020304" pitchFamily="18" charset="0"/>
              <a:ea typeface="Times New Roman" panose="02020603050405020304" pitchFamily="18" charset="0"/>
            </a:endParaRPr>
          </a:p>
        </p:txBody>
      </p:sp>
      <p:sp>
        <p:nvSpPr>
          <p:cNvPr id="16" name="Untertitel 5">
            <a:extLst>
              <a:ext uri="{FF2B5EF4-FFF2-40B4-BE49-F238E27FC236}">
                <a16:creationId xmlns:a16="http://schemas.microsoft.com/office/drawing/2014/main" id="{5F38CDC9-77C4-4000-FBE9-0049A703F93B}"/>
              </a:ext>
            </a:extLst>
          </p:cNvPr>
          <p:cNvSpPr txBox="1">
            <a:spLocks/>
          </p:cNvSpPr>
          <p:nvPr/>
        </p:nvSpPr>
        <p:spPr>
          <a:xfrm>
            <a:off x="719138" y="7448347"/>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Task 2</a:t>
            </a:r>
            <a:endParaRPr lang="de-DE" sz="1200">
              <a:solidFill>
                <a:schemeClr val="accent2"/>
              </a:solidFill>
            </a:endParaRPr>
          </a:p>
        </p:txBody>
      </p:sp>
      <p:sp>
        <p:nvSpPr>
          <p:cNvPr id="17" name="Untertitel 3">
            <a:extLst>
              <a:ext uri="{FF2B5EF4-FFF2-40B4-BE49-F238E27FC236}">
                <a16:creationId xmlns:a16="http://schemas.microsoft.com/office/drawing/2014/main" id="{D9CFB362-C80D-C3CB-3565-54CD67F9A60E}"/>
              </a:ext>
            </a:extLst>
          </p:cNvPr>
          <p:cNvSpPr txBox="1">
            <a:spLocks/>
          </p:cNvSpPr>
          <p:nvPr/>
        </p:nvSpPr>
        <p:spPr>
          <a:xfrm>
            <a:off x="735916" y="7866989"/>
            <a:ext cx="5933121" cy="39983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How can the MPP be tracked automatically? </a:t>
            </a:r>
          </a:p>
        </p:txBody>
      </p:sp>
      <p:sp>
        <p:nvSpPr>
          <p:cNvPr id="18" name="Textfeld 11">
            <a:extLst>
              <a:ext uri="{FF2B5EF4-FFF2-40B4-BE49-F238E27FC236}">
                <a16:creationId xmlns:a16="http://schemas.microsoft.com/office/drawing/2014/main" id="{E4AFF6FF-DE61-CB00-60E8-3E6A39614C35}"/>
              </a:ext>
            </a:extLst>
          </p:cNvPr>
          <p:cNvSpPr txBox="1"/>
          <p:nvPr/>
        </p:nvSpPr>
        <p:spPr>
          <a:xfrm>
            <a:off x="726193" y="8345694"/>
            <a:ext cx="5919009" cy="1102851"/>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effectLst/>
                <a:latin typeface="Times New Roman" panose="02020603050405020304" pitchFamily="18" charset="0"/>
                <a:ea typeface="Times New Roman" panose="02020603050405020304" pitchFamily="18" charset="0"/>
              </a:rPr>
              <a:t> </a:t>
            </a:r>
            <a:endParaRPr lang="de-DE" sz="120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5450892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14B745A-6EFB-0DBD-B72E-1A45C6C67FF4}"/>
              </a:ext>
            </a:extLst>
          </p:cNvPr>
          <p:cNvSpPr>
            <a:spLocks noGrp="1"/>
          </p:cNvSpPr>
          <p:nvPr>
            <p:ph type="sldNum" sz="quarter" idx="4"/>
          </p:nvPr>
        </p:nvSpPr>
        <p:spPr/>
        <p:txBody>
          <a:bodyPr/>
          <a:lstStyle/>
          <a:p>
            <a:fld id="{DF7F771E-9578-4C04-B869-01AF4C35C90C}" type="slidenum">
              <a:rPr lang="de-DE" smtClean="0"/>
              <a:t>62</a:t>
            </a:fld>
            <a:endParaRPr lang="de-DE"/>
          </a:p>
        </p:txBody>
      </p:sp>
      <p:sp>
        <p:nvSpPr>
          <p:cNvPr id="4" name="Untertitel 3">
            <a:extLst>
              <a:ext uri="{FF2B5EF4-FFF2-40B4-BE49-F238E27FC236}">
                <a16:creationId xmlns:a16="http://schemas.microsoft.com/office/drawing/2014/main" id="{DB9B4EE0-D334-B19C-DB4E-D2AF7A167497}"/>
              </a:ext>
            </a:extLst>
          </p:cNvPr>
          <p:cNvSpPr txBox="1">
            <a:spLocks/>
          </p:cNvSpPr>
          <p:nvPr/>
        </p:nvSpPr>
        <p:spPr>
          <a:xfrm>
            <a:off x="744305" y="1294716"/>
            <a:ext cx="5933121" cy="83608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Switch the MPPT to automatic mode. </a:t>
            </a:r>
          </a:p>
          <a:p>
            <a:pPr marL="139700" indent="0"/>
            <a:r>
              <a:rPr lang="en-US"/>
              <a:t>Now, try to control the MPPT controller manually, as the load is changed.</a:t>
            </a:r>
          </a:p>
        </p:txBody>
      </p:sp>
      <p:sp>
        <p:nvSpPr>
          <p:cNvPr id="5" name="Untertitel 5">
            <a:extLst>
              <a:ext uri="{FF2B5EF4-FFF2-40B4-BE49-F238E27FC236}">
                <a16:creationId xmlns:a16="http://schemas.microsoft.com/office/drawing/2014/main" id="{FB137E00-5FF1-9F57-AD08-D213B3FE2E67}"/>
              </a:ext>
            </a:extLst>
          </p:cNvPr>
          <p:cNvSpPr txBox="1">
            <a:spLocks/>
          </p:cNvSpPr>
          <p:nvPr/>
        </p:nvSpPr>
        <p:spPr>
          <a:xfrm>
            <a:off x="726193" y="1953428"/>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Task 3</a:t>
            </a:r>
            <a:endParaRPr lang="de-DE" sz="1200">
              <a:solidFill>
                <a:schemeClr val="accent2"/>
              </a:solidFill>
            </a:endParaRPr>
          </a:p>
        </p:txBody>
      </p:sp>
      <p:sp>
        <p:nvSpPr>
          <p:cNvPr id="6" name="Untertitel 3">
            <a:extLst>
              <a:ext uri="{FF2B5EF4-FFF2-40B4-BE49-F238E27FC236}">
                <a16:creationId xmlns:a16="http://schemas.microsoft.com/office/drawing/2014/main" id="{3D3A0FDB-73E0-FCA3-D6FD-F41F56E6DAFE}"/>
              </a:ext>
            </a:extLst>
          </p:cNvPr>
          <p:cNvSpPr txBox="1">
            <a:spLocks/>
          </p:cNvSpPr>
          <p:nvPr/>
        </p:nvSpPr>
        <p:spPr>
          <a:xfrm>
            <a:off x="735916" y="2282344"/>
            <a:ext cx="5933121" cy="39983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What can you observe?</a:t>
            </a:r>
          </a:p>
        </p:txBody>
      </p:sp>
      <p:sp>
        <p:nvSpPr>
          <p:cNvPr id="7" name="Textfeld 11">
            <a:extLst>
              <a:ext uri="{FF2B5EF4-FFF2-40B4-BE49-F238E27FC236}">
                <a16:creationId xmlns:a16="http://schemas.microsoft.com/office/drawing/2014/main" id="{1BD62F8B-66B8-454C-D7B7-952CFF9EB605}"/>
              </a:ext>
            </a:extLst>
          </p:cNvPr>
          <p:cNvSpPr txBox="1"/>
          <p:nvPr/>
        </p:nvSpPr>
        <p:spPr>
          <a:xfrm>
            <a:off x="726193" y="2710249"/>
            <a:ext cx="5919009" cy="125131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effectLst/>
                <a:latin typeface="Times New Roman" panose="02020603050405020304" pitchFamily="18" charset="0"/>
                <a:ea typeface="Times New Roman" panose="02020603050405020304" pitchFamily="18" charset="0"/>
              </a:rPr>
              <a:t> </a:t>
            </a:r>
            <a:endParaRPr lang="de-DE" sz="1200">
              <a:effectLst/>
              <a:latin typeface="Times New Roman" panose="02020603050405020304" pitchFamily="18" charset="0"/>
              <a:ea typeface="Times New Roman" panose="02020603050405020304" pitchFamily="18" charset="0"/>
            </a:endParaRPr>
          </a:p>
        </p:txBody>
      </p:sp>
      <p:sp>
        <p:nvSpPr>
          <p:cNvPr id="8" name="Untertitel 3">
            <a:extLst>
              <a:ext uri="{FF2B5EF4-FFF2-40B4-BE49-F238E27FC236}">
                <a16:creationId xmlns:a16="http://schemas.microsoft.com/office/drawing/2014/main" id="{612F60C2-8EB6-94EB-E61F-E1CF1111B61B}"/>
              </a:ext>
            </a:extLst>
          </p:cNvPr>
          <p:cNvSpPr txBox="1">
            <a:spLocks/>
          </p:cNvSpPr>
          <p:nvPr/>
        </p:nvSpPr>
        <p:spPr>
          <a:xfrm>
            <a:off x="736127" y="4021954"/>
            <a:ext cx="5933121" cy="39983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Now switch the controller to pure PWM mode.</a:t>
            </a:r>
          </a:p>
        </p:txBody>
      </p:sp>
      <p:sp>
        <p:nvSpPr>
          <p:cNvPr id="12" name="Untertitel 5">
            <a:extLst>
              <a:ext uri="{FF2B5EF4-FFF2-40B4-BE49-F238E27FC236}">
                <a16:creationId xmlns:a16="http://schemas.microsoft.com/office/drawing/2014/main" id="{4F004940-B43E-6DEB-28FE-F67D39756E34}"/>
              </a:ext>
            </a:extLst>
          </p:cNvPr>
          <p:cNvSpPr txBox="1">
            <a:spLocks/>
          </p:cNvSpPr>
          <p:nvPr/>
        </p:nvSpPr>
        <p:spPr>
          <a:xfrm>
            <a:off x="712083" y="4437055"/>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Task 4</a:t>
            </a:r>
            <a:endParaRPr lang="de-DE" sz="1200">
              <a:solidFill>
                <a:schemeClr val="accent2"/>
              </a:solidFill>
            </a:endParaRPr>
          </a:p>
        </p:txBody>
      </p:sp>
      <p:sp>
        <p:nvSpPr>
          <p:cNvPr id="13" name="Untertitel 3">
            <a:extLst>
              <a:ext uri="{FF2B5EF4-FFF2-40B4-BE49-F238E27FC236}">
                <a16:creationId xmlns:a16="http://schemas.microsoft.com/office/drawing/2014/main" id="{7EA1203B-D7A9-BE58-DCEA-31631EE51EE5}"/>
              </a:ext>
            </a:extLst>
          </p:cNvPr>
          <p:cNvSpPr txBox="1">
            <a:spLocks/>
          </p:cNvSpPr>
          <p:nvPr/>
        </p:nvSpPr>
        <p:spPr>
          <a:xfrm>
            <a:off x="728861" y="4835377"/>
            <a:ext cx="5933121" cy="39983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Do you notice anything?</a:t>
            </a:r>
          </a:p>
        </p:txBody>
      </p:sp>
      <p:sp>
        <p:nvSpPr>
          <p:cNvPr id="14" name="Textfeld 11">
            <a:extLst>
              <a:ext uri="{FF2B5EF4-FFF2-40B4-BE49-F238E27FC236}">
                <a16:creationId xmlns:a16="http://schemas.microsoft.com/office/drawing/2014/main" id="{BB27C6C0-7A7E-BBB7-23C9-EA23445D6CAF}"/>
              </a:ext>
            </a:extLst>
          </p:cNvPr>
          <p:cNvSpPr txBox="1"/>
          <p:nvPr/>
        </p:nvSpPr>
        <p:spPr>
          <a:xfrm>
            <a:off x="719138" y="5253122"/>
            <a:ext cx="5919009" cy="125131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effectLst/>
                <a:latin typeface="Times New Roman" panose="02020603050405020304" pitchFamily="18" charset="0"/>
                <a:ea typeface="Times New Roman" panose="02020603050405020304" pitchFamily="18" charset="0"/>
              </a:rPr>
              <a:t> </a:t>
            </a:r>
            <a:endParaRPr lang="de-DE" sz="1200">
              <a:effectLst/>
              <a:latin typeface="Times New Roman" panose="02020603050405020304" pitchFamily="18" charset="0"/>
              <a:ea typeface="Times New Roman" panose="02020603050405020304" pitchFamily="18" charset="0"/>
            </a:endParaRPr>
          </a:p>
        </p:txBody>
      </p:sp>
      <p:sp>
        <p:nvSpPr>
          <p:cNvPr id="15" name="Rechteck 14">
            <a:extLst>
              <a:ext uri="{FF2B5EF4-FFF2-40B4-BE49-F238E27FC236}">
                <a16:creationId xmlns:a16="http://schemas.microsoft.com/office/drawing/2014/main" id="{D1B45BBC-4676-CBAA-FF68-EEE82E08EEBF}"/>
              </a:ext>
            </a:extLst>
          </p:cNvPr>
          <p:cNvSpPr/>
          <p:nvPr/>
        </p:nvSpPr>
        <p:spPr>
          <a:xfrm>
            <a:off x="719138" y="6994798"/>
            <a:ext cx="5740172" cy="2992482"/>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A976C652-6C3F-E5CB-B873-1346660E9DE7}"/>
              </a:ext>
            </a:extLst>
          </p:cNvPr>
          <p:cNvSpPr>
            <a:spLocks noChangeAspect="1"/>
          </p:cNvSpPr>
          <p:nvPr/>
        </p:nvSpPr>
        <p:spPr>
          <a:xfrm>
            <a:off x="6128978" y="6676088"/>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Lesezeichen mit einfarbiger Füllung">
            <a:extLst>
              <a:ext uri="{FF2B5EF4-FFF2-40B4-BE49-F238E27FC236}">
                <a16:creationId xmlns:a16="http://schemas.microsoft.com/office/drawing/2014/main" id="{83DE5872-E2AC-A2A0-377F-D2A1C3001DB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825" y="6803935"/>
            <a:ext cx="404450" cy="404450"/>
          </a:xfrm>
          <a:prstGeom prst="rect">
            <a:avLst/>
          </a:prstGeom>
        </p:spPr>
      </p:pic>
      <p:sp>
        <p:nvSpPr>
          <p:cNvPr id="18" name="Untertitel 5">
            <a:extLst>
              <a:ext uri="{FF2B5EF4-FFF2-40B4-BE49-F238E27FC236}">
                <a16:creationId xmlns:a16="http://schemas.microsoft.com/office/drawing/2014/main" id="{36A326E2-A45C-12D4-2F58-CB9D1802B570}"/>
              </a:ext>
            </a:extLst>
          </p:cNvPr>
          <p:cNvSpPr txBox="1">
            <a:spLocks/>
          </p:cNvSpPr>
          <p:nvPr/>
        </p:nvSpPr>
        <p:spPr>
          <a:xfrm>
            <a:off x="894164" y="709442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19" name="Untertitel 2">
            <a:extLst>
              <a:ext uri="{FF2B5EF4-FFF2-40B4-BE49-F238E27FC236}">
                <a16:creationId xmlns:a16="http://schemas.microsoft.com/office/drawing/2014/main" id="{6742A0FA-E1BE-D2E7-01BD-ECA7DCE000C7}"/>
              </a:ext>
            </a:extLst>
          </p:cNvPr>
          <p:cNvSpPr txBox="1">
            <a:spLocks/>
          </p:cNvSpPr>
          <p:nvPr/>
        </p:nvSpPr>
        <p:spPr>
          <a:xfrm>
            <a:off x="894164" y="7513064"/>
            <a:ext cx="4979684" cy="283630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Maximum Power Point Tracking (MPPT) systems function automatically to optimize the efficiency of solar panels.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These systems continuously monitor the output of solar panels and use this data to calculate and adjust to the Maximum Power Point (MPP), where the panels produce the most power.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The adjustments are made in real-time to respond to changes in sunlight intensity, sun angle, and temperature, ensuring that the solar panels operate at peak efficiency.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This automatic adaptation maximizes energy harvest without the need for manual intervention, enhancing both the performance and convenience of solar power systems.</a:t>
            </a:r>
          </a:p>
        </p:txBody>
      </p:sp>
    </p:spTree>
    <p:extLst>
      <p:ext uri="{BB962C8B-B14F-4D97-AF65-F5344CB8AC3E}">
        <p14:creationId xmlns:p14="http://schemas.microsoft.com/office/powerpoint/2010/main" val="65966612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BF323B0-97E1-DFF7-18BB-F1F3C354CFDE}"/>
              </a:ext>
            </a:extLst>
          </p:cNvPr>
          <p:cNvSpPr>
            <a:spLocks noGrp="1"/>
          </p:cNvSpPr>
          <p:nvPr>
            <p:ph type="sldNum" sz="quarter" idx="4"/>
          </p:nvPr>
        </p:nvSpPr>
        <p:spPr/>
        <p:txBody>
          <a:bodyPr/>
          <a:lstStyle/>
          <a:p>
            <a:fld id="{DF7F771E-9578-4C04-B869-01AF4C35C90C}" type="slidenum">
              <a:rPr lang="de-DE" smtClean="0"/>
              <a:t>63</a:t>
            </a:fld>
            <a:endParaRPr lang="de-DE"/>
          </a:p>
        </p:txBody>
      </p:sp>
      <p:sp>
        <p:nvSpPr>
          <p:cNvPr id="4" name="Titel 1">
            <a:extLst>
              <a:ext uri="{FF2B5EF4-FFF2-40B4-BE49-F238E27FC236}">
                <a16:creationId xmlns:a16="http://schemas.microsoft.com/office/drawing/2014/main" id="{EA6E1DD4-902A-6D6B-9A09-0CA62FAD41E9}"/>
              </a:ext>
            </a:extLst>
          </p:cNvPr>
          <p:cNvSpPr txBox="1">
            <a:spLocks/>
          </p:cNvSpPr>
          <p:nvPr/>
        </p:nvSpPr>
        <p:spPr>
          <a:xfrm>
            <a:off x="589649" y="1121461"/>
            <a:ext cx="6380336" cy="63603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de-DE"/>
              <a:t>3. PWM vs. MPPT</a:t>
            </a:r>
          </a:p>
        </p:txBody>
      </p:sp>
      <p:sp>
        <p:nvSpPr>
          <p:cNvPr id="10" name="Untertitel 5">
            <a:extLst>
              <a:ext uri="{FF2B5EF4-FFF2-40B4-BE49-F238E27FC236}">
                <a16:creationId xmlns:a16="http://schemas.microsoft.com/office/drawing/2014/main" id="{44BEE050-92B3-AD4F-FF45-57AE73BA0A16}"/>
              </a:ext>
            </a:extLst>
          </p:cNvPr>
          <p:cNvSpPr txBox="1">
            <a:spLocks/>
          </p:cNvSpPr>
          <p:nvPr/>
        </p:nvSpPr>
        <p:spPr>
          <a:xfrm>
            <a:off x="719138" y="2755595"/>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Task</a:t>
            </a:r>
            <a:endParaRPr lang="de-DE" sz="1200">
              <a:solidFill>
                <a:schemeClr val="accent2"/>
              </a:solidFill>
            </a:endParaRPr>
          </a:p>
        </p:txBody>
      </p:sp>
      <p:sp>
        <p:nvSpPr>
          <p:cNvPr id="11" name="Untertitel 3">
            <a:extLst>
              <a:ext uri="{FF2B5EF4-FFF2-40B4-BE49-F238E27FC236}">
                <a16:creationId xmlns:a16="http://schemas.microsoft.com/office/drawing/2014/main" id="{5C02639F-710F-9CB0-F834-4379E64B5D69}"/>
              </a:ext>
            </a:extLst>
          </p:cNvPr>
          <p:cNvSpPr txBox="1">
            <a:spLocks/>
          </p:cNvSpPr>
          <p:nvPr/>
        </p:nvSpPr>
        <p:spPr>
          <a:xfrm>
            <a:off x="719138" y="3174236"/>
            <a:ext cx="5933121" cy="77697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Which is better in your opinion: PWM or MPPT?</a:t>
            </a:r>
          </a:p>
          <a:p>
            <a:pPr marL="139700" indent="0"/>
            <a:r>
              <a:rPr lang="en-US"/>
              <a:t>Please consider both the benefits of each application and the costs!</a:t>
            </a:r>
          </a:p>
        </p:txBody>
      </p:sp>
      <p:sp>
        <p:nvSpPr>
          <p:cNvPr id="12" name="Untertitel 5">
            <a:extLst>
              <a:ext uri="{FF2B5EF4-FFF2-40B4-BE49-F238E27FC236}">
                <a16:creationId xmlns:a16="http://schemas.microsoft.com/office/drawing/2014/main" id="{C30AE880-A5F7-CEFA-D5F1-32DDFC9903D7}"/>
              </a:ext>
            </a:extLst>
          </p:cNvPr>
          <p:cNvSpPr txBox="1">
            <a:spLocks/>
          </p:cNvSpPr>
          <p:nvPr/>
        </p:nvSpPr>
        <p:spPr>
          <a:xfrm>
            <a:off x="1137779" y="2037830"/>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err="1"/>
              <a:t>Exercise</a:t>
            </a:r>
            <a:endParaRPr lang="de-DE"/>
          </a:p>
        </p:txBody>
      </p:sp>
      <p:sp>
        <p:nvSpPr>
          <p:cNvPr id="13" name="Ellipse 12">
            <a:extLst>
              <a:ext uri="{FF2B5EF4-FFF2-40B4-BE49-F238E27FC236}">
                <a16:creationId xmlns:a16="http://schemas.microsoft.com/office/drawing/2014/main" id="{A15E28F3-60B2-9F74-828E-D82BE4BE9484}"/>
              </a:ext>
            </a:extLst>
          </p:cNvPr>
          <p:cNvSpPr>
            <a:spLocks noChangeAspect="1"/>
          </p:cNvSpPr>
          <p:nvPr/>
        </p:nvSpPr>
        <p:spPr>
          <a:xfrm>
            <a:off x="719138" y="2031894"/>
            <a:ext cx="480127" cy="480127"/>
          </a:xfrm>
          <a:prstGeom prst="ellipse">
            <a:avLst/>
          </a:prstGeom>
          <a:solidFill>
            <a:schemeClr val="accent2"/>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descr="Skizze mit einfarbiger Füllung">
            <a:extLst>
              <a:ext uri="{FF2B5EF4-FFF2-40B4-BE49-F238E27FC236}">
                <a16:creationId xmlns:a16="http://schemas.microsoft.com/office/drawing/2014/main" id="{B1B85C53-C833-FDBB-AADC-2095FDB55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3615" y="2095626"/>
            <a:ext cx="379044" cy="379044"/>
          </a:xfrm>
          <a:prstGeom prst="rect">
            <a:avLst/>
          </a:prstGeom>
        </p:spPr>
      </p:pic>
      <p:sp>
        <p:nvSpPr>
          <p:cNvPr id="15" name="Untertitel 3">
            <a:extLst>
              <a:ext uri="{FF2B5EF4-FFF2-40B4-BE49-F238E27FC236}">
                <a16:creationId xmlns:a16="http://schemas.microsoft.com/office/drawing/2014/main" id="{74A6533D-07E2-E1EE-FBE7-57FA87A721BE}"/>
              </a:ext>
            </a:extLst>
          </p:cNvPr>
          <p:cNvSpPr txBox="1">
            <a:spLocks/>
          </p:cNvSpPr>
          <p:nvPr/>
        </p:nvSpPr>
        <p:spPr>
          <a:xfrm>
            <a:off x="719137" y="3922746"/>
            <a:ext cx="5933121" cy="4186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b="1" i="1"/>
              <a:t>Benefits and costs of PWM</a:t>
            </a:r>
          </a:p>
        </p:txBody>
      </p:sp>
      <p:sp>
        <p:nvSpPr>
          <p:cNvPr id="16" name="Textfeld 11">
            <a:extLst>
              <a:ext uri="{FF2B5EF4-FFF2-40B4-BE49-F238E27FC236}">
                <a16:creationId xmlns:a16="http://schemas.microsoft.com/office/drawing/2014/main" id="{08E91666-A0EB-8A37-52CB-D8444640531D}"/>
              </a:ext>
            </a:extLst>
          </p:cNvPr>
          <p:cNvSpPr txBox="1"/>
          <p:nvPr/>
        </p:nvSpPr>
        <p:spPr>
          <a:xfrm>
            <a:off x="726192" y="4369856"/>
            <a:ext cx="5919009" cy="125131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effectLst/>
                <a:latin typeface="Times New Roman" panose="02020603050405020304" pitchFamily="18" charset="0"/>
                <a:ea typeface="Times New Roman" panose="02020603050405020304" pitchFamily="18" charset="0"/>
              </a:rPr>
              <a:t> </a:t>
            </a:r>
            <a:endParaRPr lang="de-DE" sz="1200">
              <a:effectLst/>
              <a:latin typeface="Times New Roman" panose="02020603050405020304" pitchFamily="18" charset="0"/>
              <a:ea typeface="Times New Roman" panose="02020603050405020304" pitchFamily="18" charset="0"/>
            </a:endParaRPr>
          </a:p>
        </p:txBody>
      </p:sp>
      <p:sp>
        <p:nvSpPr>
          <p:cNvPr id="17" name="Untertitel 3">
            <a:extLst>
              <a:ext uri="{FF2B5EF4-FFF2-40B4-BE49-F238E27FC236}">
                <a16:creationId xmlns:a16="http://schemas.microsoft.com/office/drawing/2014/main" id="{B05C9752-F423-7B29-B86E-CAE65038D9F0}"/>
              </a:ext>
            </a:extLst>
          </p:cNvPr>
          <p:cNvSpPr txBox="1">
            <a:spLocks/>
          </p:cNvSpPr>
          <p:nvPr/>
        </p:nvSpPr>
        <p:spPr>
          <a:xfrm>
            <a:off x="712080" y="5760190"/>
            <a:ext cx="5933121" cy="4186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b="1" i="1"/>
              <a:t>Benefits and costs of MPPT</a:t>
            </a:r>
          </a:p>
        </p:txBody>
      </p:sp>
      <p:sp>
        <p:nvSpPr>
          <p:cNvPr id="18" name="Textfeld 11">
            <a:extLst>
              <a:ext uri="{FF2B5EF4-FFF2-40B4-BE49-F238E27FC236}">
                <a16:creationId xmlns:a16="http://schemas.microsoft.com/office/drawing/2014/main" id="{90C263F4-BD7E-34D1-0B6D-AFBC18EA5D3E}"/>
              </a:ext>
            </a:extLst>
          </p:cNvPr>
          <p:cNvSpPr txBox="1"/>
          <p:nvPr/>
        </p:nvSpPr>
        <p:spPr>
          <a:xfrm>
            <a:off x="719135" y="6207300"/>
            <a:ext cx="5919009" cy="1251312"/>
          </a:xfrm>
          <a:prstGeom prst="rect">
            <a:avLst/>
          </a:prstGeom>
          <a:noFill/>
          <a:ln w="12700">
            <a:solidFill>
              <a:schemeClr val="tx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sz="1200">
                <a:effectLst/>
                <a:latin typeface="Times New Roman" panose="02020603050405020304" pitchFamily="18" charset="0"/>
                <a:ea typeface="Times New Roman" panose="02020603050405020304" pitchFamily="18" charset="0"/>
              </a:rPr>
              <a:t> </a:t>
            </a:r>
            <a:endParaRPr lang="de-DE" sz="1200">
              <a:effectLst/>
              <a:latin typeface="Times New Roman" panose="02020603050405020304" pitchFamily="18" charset="0"/>
              <a:ea typeface="Times New Roman" panose="02020603050405020304" pitchFamily="18" charset="0"/>
            </a:endParaRPr>
          </a:p>
        </p:txBody>
      </p:sp>
      <p:sp>
        <p:nvSpPr>
          <p:cNvPr id="8" name="Rechteck 7">
            <a:extLst>
              <a:ext uri="{FF2B5EF4-FFF2-40B4-BE49-F238E27FC236}">
                <a16:creationId xmlns:a16="http://schemas.microsoft.com/office/drawing/2014/main" id="{D2E3864F-CD25-43F2-EFA0-ADA5044C5D3E}"/>
              </a:ext>
            </a:extLst>
          </p:cNvPr>
          <p:cNvSpPr/>
          <p:nvPr/>
        </p:nvSpPr>
        <p:spPr>
          <a:xfrm>
            <a:off x="719138" y="7939678"/>
            <a:ext cx="5740172" cy="2409695"/>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Ellipse 8">
            <a:extLst>
              <a:ext uri="{FF2B5EF4-FFF2-40B4-BE49-F238E27FC236}">
                <a16:creationId xmlns:a16="http://schemas.microsoft.com/office/drawing/2014/main" id="{34E427D6-94B9-3B42-E393-523193622A35}"/>
              </a:ext>
            </a:extLst>
          </p:cNvPr>
          <p:cNvSpPr>
            <a:spLocks noChangeAspect="1"/>
          </p:cNvSpPr>
          <p:nvPr/>
        </p:nvSpPr>
        <p:spPr>
          <a:xfrm>
            <a:off x="6128978" y="7620968"/>
            <a:ext cx="660145" cy="660145"/>
          </a:xfrm>
          <a:prstGeom prst="ellipse">
            <a:avLst/>
          </a:prstGeom>
          <a:solidFill>
            <a:schemeClr val="accent1">
              <a:lumMod val="75000"/>
            </a:schemeClr>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descr="Lesezeichen mit einfarbiger Füllung">
            <a:extLst>
              <a:ext uri="{FF2B5EF4-FFF2-40B4-BE49-F238E27FC236}">
                <a16:creationId xmlns:a16="http://schemas.microsoft.com/office/drawing/2014/main" id="{111DA666-2507-02B2-A003-71AC17E6A4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6825" y="7748815"/>
            <a:ext cx="404450" cy="404450"/>
          </a:xfrm>
          <a:prstGeom prst="rect">
            <a:avLst/>
          </a:prstGeom>
        </p:spPr>
      </p:pic>
      <p:sp>
        <p:nvSpPr>
          <p:cNvPr id="20" name="Untertitel 5">
            <a:extLst>
              <a:ext uri="{FF2B5EF4-FFF2-40B4-BE49-F238E27FC236}">
                <a16:creationId xmlns:a16="http://schemas.microsoft.com/office/drawing/2014/main" id="{FFF38EF3-B326-52AC-40AA-23CA99AE46DA}"/>
              </a:ext>
            </a:extLst>
          </p:cNvPr>
          <p:cNvSpPr txBox="1">
            <a:spLocks/>
          </p:cNvSpPr>
          <p:nvPr/>
        </p:nvSpPr>
        <p:spPr>
          <a:xfrm>
            <a:off x="894164" y="803930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In </a:t>
            </a:r>
            <a:r>
              <a:rPr lang="de-DE" err="1"/>
              <a:t>summary</a:t>
            </a:r>
            <a:endParaRPr lang="de-DE"/>
          </a:p>
        </p:txBody>
      </p:sp>
      <p:sp>
        <p:nvSpPr>
          <p:cNvPr id="21" name="Untertitel 2">
            <a:extLst>
              <a:ext uri="{FF2B5EF4-FFF2-40B4-BE49-F238E27FC236}">
                <a16:creationId xmlns:a16="http://schemas.microsoft.com/office/drawing/2014/main" id="{05B2DA90-B4DE-116B-0286-81CC24035993}"/>
              </a:ext>
            </a:extLst>
          </p:cNvPr>
          <p:cNvSpPr txBox="1">
            <a:spLocks/>
          </p:cNvSpPr>
          <p:nvPr/>
        </p:nvSpPr>
        <p:spPr>
          <a:xfrm>
            <a:off x="894164" y="8653983"/>
            <a:ext cx="4979684" cy="169539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PWM (Pulse Width Modulation) and MPPT (Maximum Power Point Tracking) are techniques used in PV system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PWM: Regulates charging current to batteries by modulating the width of pulses, ensuring efficient battery charging.</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MPPT: Optimizes energy harvest from solar panels by continuously tracking and adjusting to the Maximum Power Point (MPP) of the panel array, maximizing overall system efficiency</a:t>
            </a:r>
          </a:p>
        </p:txBody>
      </p:sp>
    </p:spTree>
    <p:extLst>
      <p:ext uri="{BB962C8B-B14F-4D97-AF65-F5344CB8AC3E}">
        <p14:creationId xmlns:p14="http://schemas.microsoft.com/office/powerpoint/2010/main" val="13615107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262F5BE-0CCF-B105-7499-F530C21BA490}"/>
              </a:ext>
            </a:extLst>
          </p:cNvPr>
          <p:cNvGraphicFramePr>
            <a:graphicFrameLocks noChangeAspect="1"/>
          </p:cNvGraphicFramePr>
          <p:nvPr>
            <p:custDataLst>
              <p:tags r:id="rId1"/>
            </p:custDataLst>
            <p:extLst>
              <p:ext uri="{D42A27DB-BD31-4B8C-83A1-F6EECF244321}">
                <p14:modId xmlns:p14="http://schemas.microsoft.com/office/powerpoint/2010/main" val="619826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2" name="think-cell data - do not delete" hidden="1">
                        <a:extLst>
                          <a:ext uri="{FF2B5EF4-FFF2-40B4-BE49-F238E27FC236}">
                            <a16:creationId xmlns:a16="http://schemas.microsoft.com/office/drawing/2014/main" id="{5262F5BE-0CCF-B105-7499-F530C21BA4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05" name="Google Shape;305;p24"/>
          <p:cNvCxnSpPr/>
          <p:nvPr/>
        </p:nvCxnSpPr>
        <p:spPr>
          <a:xfrm>
            <a:off x="-57893" y="5397928"/>
            <a:ext cx="1181323" cy="0"/>
          </a:xfrm>
          <a:prstGeom prst="straightConnector1">
            <a:avLst/>
          </a:prstGeom>
          <a:noFill/>
          <a:ln w="9525" cap="flat" cmpd="sng">
            <a:solidFill>
              <a:schemeClr val="dk1"/>
            </a:solidFill>
            <a:prstDash val="dash"/>
            <a:round/>
            <a:headEnd type="none" w="med" len="med"/>
            <a:tailEnd type="none" w="med" len="med"/>
          </a:ln>
        </p:spPr>
      </p:cxnSp>
      <p:sp>
        <p:nvSpPr>
          <p:cNvPr id="4" name="Rechteck 3">
            <a:extLst>
              <a:ext uri="{FF2B5EF4-FFF2-40B4-BE49-F238E27FC236}">
                <a16:creationId xmlns:a16="http://schemas.microsoft.com/office/drawing/2014/main" id="{FE70CA0E-25A9-C2AD-AE39-2001A076167F}"/>
              </a:ext>
            </a:extLst>
          </p:cNvPr>
          <p:cNvSpPr/>
          <p:nvPr/>
        </p:nvSpPr>
        <p:spPr>
          <a:xfrm>
            <a:off x="630317" y="4706337"/>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2" name="Grafik 51" descr="Ein Bild, das Text, Grafiken, Logo, Screenshot enthält.&#10;&#10;Automatisch generierte Beschreibung">
            <a:extLst>
              <a:ext uri="{FF2B5EF4-FFF2-40B4-BE49-F238E27FC236}">
                <a16:creationId xmlns:a16="http://schemas.microsoft.com/office/drawing/2014/main" id="{33EF0E4C-044A-E51A-352F-EEA992C09E00}"/>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706700" y="4684674"/>
            <a:ext cx="1725628" cy="1725628"/>
          </a:xfrm>
          <a:prstGeom prst="ellipse">
            <a:avLst/>
          </a:prstGeom>
        </p:spPr>
      </p:pic>
      <p:sp>
        <p:nvSpPr>
          <p:cNvPr id="304" name="Google Shape;304;p24"/>
          <p:cNvSpPr/>
          <p:nvPr/>
        </p:nvSpPr>
        <p:spPr>
          <a:xfrm>
            <a:off x="1524005" y="3449395"/>
            <a:ext cx="5785915" cy="2845155"/>
          </a:xfrm>
          <a:custGeom>
            <a:avLst/>
            <a:gdLst/>
            <a:ahLst/>
            <a:cxnLst/>
            <a:rect l="l" t="t" r="r" b="b"/>
            <a:pathLst>
              <a:path w="22609" h="10401" fill="none" extrusionOk="0">
                <a:moveTo>
                  <a:pt x="19388" y="10401"/>
                </a:moveTo>
                <a:lnTo>
                  <a:pt x="19388" y="10401"/>
                </a:lnTo>
                <a:cubicBezTo>
                  <a:pt x="21897" y="10401"/>
                  <a:pt x="21897" y="10401"/>
                  <a:pt x="21897" y="10401"/>
                </a:cubicBezTo>
                <a:cubicBezTo>
                  <a:pt x="22292" y="10401"/>
                  <a:pt x="22609" y="10084"/>
                  <a:pt x="22609" y="9693"/>
                </a:cubicBezTo>
                <a:cubicBezTo>
                  <a:pt x="22609" y="478"/>
                  <a:pt x="22609" y="478"/>
                  <a:pt x="22609" y="478"/>
                </a:cubicBezTo>
                <a:cubicBezTo>
                  <a:pt x="22609" y="215"/>
                  <a:pt x="22394" y="0"/>
                  <a:pt x="22131" y="0"/>
                </a:cubicBezTo>
                <a:cubicBezTo>
                  <a:pt x="478" y="0"/>
                  <a:pt x="478" y="0"/>
                  <a:pt x="478" y="0"/>
                </a:cubicBezTo>
                <a:cubicBezTo>
                  <a:pt x="215" y="0"/>
                  <a:pt x="0" y="215"/>
                  <a:pt x="0" y="478"/>
                </a:cubicBezTo>
                <a:cubicBezTo>
                  <a:pt x="0" y="4670"/>
                  <a:pt x="0" y="4670"/>
                  <a:pt x="0" y="4670"/>
                </a:cubicBezTo>
              </a:path>
            </a:pathLst>
          </a:custGeom>
          <a:noFill/>
          <a:ln w="9525" cap="rnd" cmpd="sng">
            <a:solidFill>
              <a:schemeClr val="dk1"/>
            </a:solidFill>
            <a:prstDash val="solid"/>
            <a:round/>
            <a:headEnd type="none" w="sm" len="sm"/>
            <a:tailEnd type="none" w="sm" len="sm"/>
          </a:ln>
        </p:spPr>
        <p:txBody>
          <a:bodyPr spcFirstLastPara="1" wrap="square" lIns="76473" tIns="39270" rIns="76473" bIns="39270" anchor="ctr" anchorCtr="1">
            <a:noAutofit/>
          </a:bodyPr>
          <a:lstStyle/>
          <a:p>
            <a:endParaRPr sz="1488"/>
          </a:p>
        </p:txBody>
      </p:sp>
      <p:sp>
        <p:nvSpPr>
          <p:cNvPr id="326" name="Google Shape;326;p24"/>
          <p:cNvSpPr txBox="1">
            <a:spLocks noGrp="1"/>
          </p:cNvSpPr>
          <p:nvPr>
            <p:ph type="ctrTitle"/>
          </p:nvPr>
        </p:nvSpPr>
        <p:spPr>
          <a:xfrm>
            <a:off x="2753754" y="3451362"/>
            <a:ext cx="4216106" cy="1870573"/>
          </a:xfrm>
          <a:prstGeom prst="rect">
            <a:avLst/>
          </a:prstGeom>
        </p:spPr>
        <p:txBody>
          <a:bodyPr spcFirstLastPara="1" wrap="square" lIns="75584" tIns="75584" rIns="75584" bIns="75584" anchor="b" anchorCtr="0">
            <a:noAutofit/>
          </a:bodyPr>
          <a:lstStyle/>
          <a:p>
            <a:r>
              <a:rPr lang="en"/>
              <a:t>PV Education HUB</a:t>
            </a:r>
            <a:endParaRPr lang="it-IT"/>
          </a:p>
          <a:p>
            <a:r>
              <a:rPr lang="en" b="0"/>
              <a:t>Chapter 4</a:t>
            </a:r>
            <a:endParaRPr b="0"/>
          </a:p>
        </p:txBody>
      </p:sp>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Google Shape;327;p24">
            <a:extLst>
              <a:ext uri="{FF2B5EF4-FFF2-40B4-BE49-F238E27FC236}">
                <a16:creationId xmlns:a16="http://schemas.microsoft.com/office/drawing/2014/main" id="{0944224C-538C-17E1-8A5E-F7983FA72F56}"/>
              </a:ext>
            </a:extLst>
          </p:cNvPr>
          <p:cNvSpPr txBox="1">
            <a:spLocks/>
          </p:cNvSpPr>
          <p:nvPr/>
        </p:nvSpPr>
        <p:spPr>
          <a:xfrm>
            <a:off x="2753754" y="5281942"/>
            <a:ext cx="4216106" cy="2012154"/>
          </a:xfrm>
          <a:prstGeom prst="rect">
            <a:avLst/>
          </a:prstGeom>
          <a:solidFill>
            <a:srgbClr val="F0E3D8"/>
          </a:solidFill>
          <a:ln w="9525" cap="flat" cmpd="sng">
            <a:noFill/>
            <a:prstDash val="solid"/>
            <a:round/>
            <a:headEnd type="none" w="sm" len="sm"/>
            <a:tailEnd type="none" w="sm" len="sm"/>
          </a:ln>
        </p:spPr>
        <p:txBody>
          <a:bodyPr spcFirstLastPara="1" wrap="square" lIns="75584" tIns="75584" rIns="75584" bIns="75584"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600"/>
              <a:buFont typeface="Sofia Sans"/>
              <a:buNone/>
              <a:defRPr sz="1323" b="0" i="0" u="none" strike="noStrike" cap="none">
                <a:solidFill>
                  <a:schemeClr val="dk1"/>
                </a:solidFill>
                <a:latin typeface="Sofia Sans"/>
                <a:ea typeface="Sofia Sans"/>
                <a:cs typeface="Sofia Sans"/>
                <a:sym typeface="Sofia Sans"/>
              </a:defRPr>
            </a:lvl1pPr>
            <a:lvl2pPr marL="914400" marR="0" lvl="1" indent="-317500" algn="ctr" rtl="0">
              <a:lnSpc>
                <a:spcPct val="100000"/>
              </a:lnSpc>
              <a:spcBef>
                <a:spcPts val="0"/>
              </a:spcBef>
              <a:spcAft>
                <a:spcPts val="0"/>
              </a:spcAft>
              <a:buClr>
                <a:schemeClr val="dk1"/>
              </a:buClr>
              <a:buSzPts val="1600"/>
              <a:buFont typeface="Sofia Sans"/>
              <a:buNone/>
              <a:defRPr sz="1323" b="0" i="0" u="none" strike="noStrike" cap="none">
                <a:solidFill>
                  <a:schemeClr val="dk1"/>
                </a:solidFill>
                <a:latin typeface="Sofia Sans"/>
                <a:ea typeface="Sofia Sans"/>
                <a:cs typeface="Sofia Sans"/>
                <a:sym typeface="Sofia Sans"/>
              </a:defRPr>
            </a:lvl2pPr>
            <a:lvl3pPr marL="1371600" marR="0" lvl="2" indent="-317500" algn="ctr" rtl="0">
              <a:lnSpc>
                <a:spcPct val="100000"/>
              </a:lnSpc>
              <a:spcBef>
                <a:spcPts val="0"/>
              </a:spcBef>
              <a:spcAft>
                <a:spcPts val="0"/>
              </a:spcAft>
              <a:buClr>
                <a:schemeClr val="dk1"/>
              </a:buClr>
              <a:buSzPts val="1600"/>
              <a:buFont typeface="Sofia Sans"/>
              <a:buNone/>
              <a:defRPr sz="1323" b="0" i="0" u="none" strike="noStrike" cap="none">
                <a:solidFill>
                  <a:schemeClr val="dk1"/>
                </a:solidFill>
                <a:latin typeface="Sofia Sans"/>
                <a:ea typeface="Sofia Sans"/>
                <a:cs typeface="Sofia Sans"/>
                <a:sym typeface="Sofia Sans"/>
              </a:defRPr>
            </a:lvl3pPr>
            <a:lvl4pPr marL="1828800" marR="0" lvl="3" indent="-317500" algn="ctr" rtl="0">
              <a:lnSpc>
                <a:spcPct val="100000"/>
              </a:lnSpc>
              <a:spcBef>
                <a:spcPts val="0"/>
              </a:spcBef>
              <a:spcAft>
                <a:spcPts val="0"/>
              </a:spcAft>
              <a:buClr>
                <a:schemeClr val="dk1"/>
              </a:buClr>
              <a:buSzPts val="1600"/>
              <a:buFont typeface="Sofia Sans"/>
              <a:buNone/>
              <a:defRPr sz="1323" b="0" i="0" u="none" strike="noStrike" cap="none">
                <a:solidFill>
                  <a:schemeClr val="dk1"/>
                </a:solidFill>
                <a:latin typeface="Sofia Sans"/>
                <a:ea typeface="Sofia Sans"/>
                <a:cs typeface="Sofia Sans"/>
                <a:sym typeface="Sofia Sans"/>
              </a:defRPr>
            </a:lvl4pPr>
            <a:lvl5pPr marL="2286000" marR="0" lvl="4" indent="-317500" algn="ctr" rtl="0">
              <a:lnSpc>
                <a:spcPct val="100000"/>
              </a:lnSpc>
              <a:spcBef>
                <a:spcPts val="0"/>
              </a:spcBef>
              <a:spcAft>
                <a:spcPts val="0"/>
              </a:spcAft>
              <a:buClr>
                <a:schemeClr val="dk1"/>
              </a:buClr>
              <a:buSzPts val="1600"/>
              <a:buFont typeface="Sofia Sans"/>
              <a:buNone/>
              <a:defRPr sz="1323" b="0" i="0" u="none" strike="noStrike" cap="none">
                <a:solidFill>
                  <a:schemeClr val="dk1"/>
                </a:solidFill>
                <a:latin typeface="Sofia Sans"/>
                <a:ea typeface="Sofia Sans"/>
                <a:cs typeface="Sofia Sans"/>
                <a:sym typeface="Sofia Sans"/>
              </a:defRPr>
            </a:lvl5pPr>
            <a:lvl6pPr marL="2743200" marR="0" lvl="5" indent="-317500" algn="ctr" rtl="0">
              <a:lnSpc>
                <a:spcPct val="100000"/>
              </a:lnSpc>
              <a:spcBef>
                <a:spcPts val="0"/>
              </a:spcBef>
              <a:spcAft>
                <a:spcPts val="0"/>
              </a:spcAft>
              <a:buClr>
                <a:schemeClr val="dk1"/>
              </a:buClr>
              <a:buSzPts val="1600"/>
              <a:buFont typeface="Sofia Sans"/>
              <a:buNone/>
              <a:defRPr sz="1323" b="0" i="0" u="none" strike="noStrike" cap="none">
                <a:solidFill>
                  <a:schemeClr val="dk1"/>
                </a:solidFill>
                <a:latin typeface="Sofia Sans"/>
                <a:ea typeface="Sofia Sans"/>
                <a:cs typeface="Sofia Sans"/>
                <a:sym typeface="Sofia Sans"/>
              </a:defRPr>
            </a:lvl6pPr>
            <a:lvl7pPr marL="3200400" marR="0" lvl="6" indent="-317500" algn="ctr" rtl="0">
              <a:lnSpc>
                <a:spcPct val="100000"/>
              </a:lnSpc>
              <a:spcBef>
                <a:spcPts val="0"/>
              </a:spcBef>
              <a:spcAft>
                <a:spcPts val="0"/>
              </a:spcAft>
              <a:buClr>
                <a:schemeClr val="dk1"/>
              </a:buClr>
              <a:buSzPts val="1600"/>
              <a:buFont typeface="Sofia Sans"/>
              <a:buNone/>
              <a:defRPr sz="1323" b="0" i="0" u="none" strike="noStrike" cap="none">
                <a:solidFill>
                  <a:schemeClr val="dk1"/>
                </a:solidFill>
                <a:latin typeface="Sofia Sans"/>
                <a:ea typeface="Sofia Sans"/>
                <a:cs typeface="Sofia Sans"/>
                <a:sym typeface="Sofia Sans"/>
              </a:defRPr>
            </a:lvl7pPr>
            <a:lvl8pPr marL="3657600" marR="0" lvl="7" indent="-317500" algn="ctr" rtl="0">
              <a:lnSpc>
                <a:spcPct val="100000"/>
              </a:lnSpc>
              <a:spcBef>
                <a:spcPts val="0"/>
              </a:spcBef>
              <a:spcAft>
                <a:spcPts val="0"/>
              </a:spcAft>
              <a:buClr>
                <a:schemeClr val="dk1"/>
              </a:buClr>
              <a:buSzPts val="1600"/>
              <a:buFont typeface="Sofia Sans"/>
              <a:buNone/>
              <a:defRPr sz="1323" b="0" i="0" u="none" strike="noStrike" cap="none">
                <a:solidFill>
                  <a:schemeClr val="dk1"/>
                </a:solidFill>
                <a:latin typeface="Sofia Sans"/>
                <a:ea typeface="Sofia Sans"/>
                <a:cs typeface="Sofia Sans"/>
                <a:sym typeface="Sofia Sans"/>
              </a:defRPr>
            </a:lvl8pPr>
            <a:lvl9pPr marL="4114800" marR="0" lvl="8" indent="-317500" algn="ctr" rtl="0">
              <a:lnSpc>
                <a:spcPct val="100000"/>
              </a:lnSpc>
              <a:spcBef>
                <a:spcPts val="0"/>
              </a:spcBef>
              <a:spcAft>
                <a:spcPts val="0"/>
              </a:spcAft>
              <a:buClr>
                <a:schemeClr val="dk1"/>
              </a:buClr>
              <a:buSzPts val="1600"/>
              <a:buFont typeface="Sofia Sans"/>
              <a:buNone/>
              <a:defRPr sz="1323" b="0" i="0" u="none" strike="noStrike" cap="none">
                <a:solidFill>
                  <a:schemeClr val="dk1"/>
                </a:solidFill>
                <a:latin typeface="Sofia Sans"/>
                <a:ea typeface="Sofia Sans"/>
                <a:cs typeface="Sofia Sans"/>
                <a:sym typeface="Sofia Sans"/>
              </a:defRPr>
            </a:lvl9pPr>
          </a:lstStyle>
          <a:p>
            <a:pPr marL="0" indent="0"/>
            <a:r>
              <a:rPr lang="en-US" sz="2800" b="1"/>
              <a:t>Application - Analyzing Energy Consumption Profiles of Household Appliances</a:t>
            </a:r>
            <a:endParaRPr lang="en" sz="2800" b="1"/>
          </a:p>
        </p:txBody>
      </p:sp>
    </p:spTree>
    <p:extLst>
      <p:ext uri="{BB962C8B-B14F-4D97-AF65-F5344CB8AC3E}">
        <p14:creationId xmlns:p14="http://schemas.microsoft.com/office/powerpoint/2010/main" val="11272444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26900DB9-ED99-E2E2-04B6-E1B0CDCDAA93}"/>
              </a:ext>
            </a:extLst>
          </p:cNvPr>
          <p:cNvSpPr>
            <a:spLocks noGrp="1"/>
          </p:cNvSpPr>
          <p:nvPr>
            <p:ph type="sldNum" sz="quarter" idx="10"/>
          </p:nvPr>
        </p:nvSpPr>
        <p:spPr/>
        <p:txBody>
          <a:bodyPr/>
          <a:lstStyle/>
          <a:p>
            <a:fld id="{DF7F771E-9578-4C04-B869-01AF4C35C90C}" type="slidenum">
              <a:rPr lang="de-DE" smtClean="0"/>
              <a:t>65</a:t>
            </a:fld>
            <a:endParaRPr lang="de-DE"/>
          </a:p>
        </p:txBody>
      </p:sp>
      <p:sp>
        <p:nvSpPr>
          <p:cNvPr id="8" name="Titel 1">
            <a:extLst>
              <a:ext uri="{FF2B5EF4-FFF2-40B4-BE49-F238E27FC236}">
                <a16:creationId xmlns:a16="http://schemas.microsoft.com/office/drawing/2014/main" id="{EAE65E17-24BD-9146-7605-4AD45B45C364}"/>
              </a:ext>
            </a:extLst>
          </p:cNvPr>
          <p:cNvSpPr>
            <a:spLocks noGrp="1"/>
          </p:cNvSpPr>
          <p:nvPr>
            <p:ph type="title"/>
          </p:nvPr>
        </p:nvSpPr>
        <p:spPr>
          <a:xfrm>
            <a:off x="595250" y="1121461"/>
            <a:ext cx="6369175" cy="519708"/>
          </a:xfrm>
        </p:spPr>
        <p:txBody>
          <a:bodyPr/>
          <a:lstStyle/>
          <a:p>
            <a:r>
              <a:rPr lang="en-US"/>
              <a:t>Connecting to a load and MPP</a:t>
            </a:r>
          </a:p>
        </p:txBody>
      </p:sp>
      <p:sp>
        <p:nvSpPr>
          <p:cNvPr id="4" name="Rechteck 3">
            <a:extLst>
              <a:ext uri="{FF2B5EF4-FFF2-40B4-BE49-F238E27FC236}">
                <a16:creationId xmlns:a16="http://schemas.microsoft.com/office/drawing/2014/main" id="{D6A514ED-E500-85AF-6983-5BA46210B3F1}"/>
              </a:ext>
            </a:extLst>
          </p:cNvPr>
          <p:cNvSpPr/>
          <p:nvPr/>
        </p:nvSpPr>
        <p:spPr>
          <a:xfrm>
            <a:off x="719137" y="6946758"/>
            <a:ext cx="5740172" cy="2249088"/>
          </a:xfrm>
          <a:prstGeom prst="rect">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Untertitel 2">
            <a:extLst>
              <a:ext uri="{FF2B5EF4-FFF2-40B4-BE49-F238E27FC236}">
                <a16:creationId xmlns:a16="http://schemas.microsoft.com/office/drawing/2014/main" id="{1EF18BE2-7A04-FC59-433C-37D0557F4D9A}"/>
              </a:ext>
            </a:extLst>
          </p:cNvPr>
          <p:cNvSpPr txBox="1">
            <a:spLocks/>
          </p:cNvSpPr>
          <p:nvPr/>
        </p:nvSpPr>
        <p:spPr>
          <a:xfrm>
            <a:off x="1099381" y="7650845"/>
            <a:ext cx="4979684" cy="122736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ClrTx/>
              <a:buFont typeface="Arial" panose="020B0604020202020204" pitchFamily="34" charset="0"/>
              <a:buChar char="•"/>
            </a:pPr>
            <a:r>
              <a:rPr lang="en-US"/>
              <a:t>One lamp (Yellow light bulb)</a:t>
            </a:r>
          </a:p>
          <a:p>
            <a:pPr>
              <a:buClrTx/>
              <a:buFont typeface="Arial" panose="020B0604020202020204" pitchFamily="34" charset="0"/>
              <a:buChar char="•"/>
            </a:pPr>
            <a:r>
              <a:rPr lang="en-US"/>
              <a:t>PV </a:t>
            </a:r>
            <a:r>
              <a:rPr lang="en-US" sz="1150"/>
              <a:t>modules (Small &amp; Big)</a:t>
            </a:r>
          </a:p>
          <a:p>
            <a:pPr>
              <a:buClrTx/>
              <a:buFont typeface="Arial" panose="020B0604020202020204" pitchFamily="34" charset="0"/>
              <a:buChar char="•"/>
            </a:pPr>
            <a:r>
              <a:rPr lang="en-US" sz="1150"/>
              <a:t>Multimeter</a:t>
            </a:r>
          </a:p>
          <a:p>
            <a:pPr>
              <a:buClrTx/>
              <a:buFont typeface="Arial" panose="020B0604020202020204" pitchFamily="34" charset="0"/>
              <a:buChar char="•"/>
            </a:pPr>
            <a:r>
              <a:rPr lang="en-US" sz="1150"/>
              <a:t>Various cables</a:t>
            </a:r>
          </a:p>
          <a:p>
            <a:pPr>
              <a:buClrTx/>
              <a:buFont typeface="Arial" panose="020B0604020202020204" pitchFamily="34" charset="0"/>
              <a:buChar char="•"/>
            </a:pPr>
            <a:r>
              <a:rPr lang="en-US" sz="1150"/>
              <a:t>Holder for PV panels</a:t>
            </a:r>
          </a:p>
          <a:p>
            <a:pPr>
              <a:buClrTx/>
              <a:buFont typeface="Arial" panose="020B0604020202020204" pitchFamily="34" charset="0"/>
              <a:buChar char="•"/>
            </a:pPr>
            <a:r>
              <a:rPr lang="en-US" sz="1150"/>
              <a:t>Resistance (Potentiometer)</a:t>
            </a:r>
          </a:p>
          <a:p>
            <a:pPr>
              <a:buClrTx/>
              <a:buFont typeface="Arial" panose="020B0604020202020204" pitchFamily="34" charset="0"/>
              <a:buChar char="•"/>
            </a:pPr>
            <a:endParaRPr lang="en-US" sz="1150"/>
          </a:p>
        </p:txBody>
      </p:sp>
      <p:sp>
        <p:nvSpPr>
          <p:cNvPr id="6" name="Untertitel 5">
            <a:extLst>
              <a:ext uri="{FF2B5EF4-FFF2-40B4-BE49-F238E27FC236}">
                <a16:creationId xmlns:a16="http://schemas.microsoft.com/office/drawing/2014/main" id="{79E1760F-B89C-5863-A242-35A84CFDCFB7}"/>
              </a:ext>
            </a:extLst>
          </p:cNvPr>
          <p:cNvSpPr txBox="1">
            <a:spLocks/>
          </p:cNvSpPr>
          <p:nvPr/>
        </p:nvSpPr>
        <p:spPr>
          <a:xfrm>
            <a:off x="881288" y="7089481"/>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a:t>Material you will need for the experiments</a:t>
            </a:r>
            <a:endParaRPr lang="de-DE"/>
          </a:p>
        </p:txBody>
      </p:sp>
      <p:sp>
        <p:nvSpPr>
          <p:cNvPr id="16" name="Ellipse 15">
            <a:extLst>
              <a:ext uri="{FF2B5EF4-FFF2-40B4-BE49-F238E27FC236}">
                <a16:creationId xmlns:a16="http://schemas.microsoft.com/office/drawing/2014/main" id="{A7DDDE85-3A12-8334-875A-B6C164EE37C5}"/>
              </a:ext>
            </a:extLst>
          </p:cNvPr>
          <p:cNvSpPr>
            <a:spLocks noChangeAspect="1"/>
          </p:cNvSpPr>
          <p:nvPr/>
        </p:nvSpPr>
        <p:spPr>
          <a:xfrm>
            <a:off x="6128977" y="6605886"/>
            <a:ext cx="660145" cy="660145"/>
          </a:xfrm>
          <a:prstGeom prst="ellipse">
            <a:avLst/>
          </a:prstGeom>
          <a:solidFill>
            <a:schemeClr val="accent5"/>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descr="Inventar mit einfarbiger Füllung">
            <a:extLst>
              <a:ext uri="{FF2B5EF4-FFF2-40B4-BE49-F238E27FC236}">
                <a16:creationId xmlns:a16="http://schemas.microsoft.com/office/drawing/2014/main" id="{3BDC7BEC-CB9E-003B-BE38-9E425099B3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30449" y="6707358"/>
            <a:ext cx="457200" cy="457200"/>
          </a:xfrm>
          <a:prstGeom prst="rect">
            <a:avLst/>
          </a:prstGeom>
        </p:spPr>
      </p:pic>
      <p:sp>
        <p:nvSpPr>
          <p:cNvPr id="13" name="Untertitel 3">
            <a:extLst>
              <a:ext uri="{FF2B5EF4-FFF2-40B4-BE49-F238E27FC236}">
                <a16:creationId xmlns:a16="http://schemas.microsoft.com/office/drawing/2014/main" id="{37B1975D-5314-EF92-0D9E-E2A606B471A6}"/>
              </a:ext>
            </a:extLst>
          </p:cNvPr>
          <p:cNvSpPr txBox="1">
            <a:spLocks/>
          </p:cNvSpPr>
          <p:nvPr/>
        </p:nvSpPr>
        <p:spPr>
          <a:xfrm>
            <a:off x="719137" y="2326497"/>
            <a:ext cx="5470221" cy="147818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de-DE"/>
              <a:t>In </a:t>
            </a:r>
            <a:r>
              <a:rPr lang="de-DE" err="1"/>
              <a:t>this</a:t>
            </a:r>
            <a:r>
              <a:rPr lang="de-DE"/>
              <a:t> </a:t>
            </a:r>
            <a:r>
              <a:rPr lang="de-DE" err="1"/>
              <a:t>chapter</a:t>
            </a:r>
            <a:r>
              <a:rPr lang="de-DE"/>
              <a:t>, </a:t>
            </a:r>
            <a:r>
              <a:rPr lang="de-DE" err="1"/>
              <a:t>you</a:t>
            </a:r>
            <a:r>
              <a:rPr lang="de-DE"/>
              <a:t> will </a:t>
            </a:r>
            <a:r>
              <a:rPr lang="de-DE" err="1"/>
              <a:t>learn</a:t>
            </a:r>
            <a:r>
              <a:rPr lang="de-DE"/>
              <a:t> </a:t>
            </a:r>
            <a:r>
              <a:rPr lang="de-DE" err="1"/>
              <a:t>about</a:t>
            </a:r>
            <a:r>
              <a:rPr lang="de-DE"/>
              <a:t>:</a:t>
            </a:r>
          </a:p>
          <a:p>
            <a:pPr>
              <a:buFont typeface="Arial" panose="020B0604020202020204" pitchFamily="34" charset="0"/>
              <a:buChar char="•"/>
            </a:pPr>
            <a:r>
              <a:rPr lang="en-US"/>
              <a:t>PV panels in Series</a:t>
            </a:r>
          </a:p>
          <a:p>
            <a:pPr>
              <a:buFont typeface="Arial" panose="020B0604020202020204" pitchFamily="34" charset="0"/>
              <a:buChar char="•"/>
            </a:pPr>
            <a:r>
              <a:rPr lang="en-US"/>
              <a:t>PV panels in Parallel</a:t>
            </a:r>
          </a:p>
          <a:p>
            <a:pPr>
              <a:buFont typeface="Arial" panose="020B0604020202020204" pitchFamily="34" charset="0"/>
              <a:buChar char="•"/>
            </a:pPr>
            <a:r>
              <a:rPr lang="en-US"/>
              <a:t>Fixed load (Resistor)</a:t>
            </a:r>
          </a:p>
          <a:p>
            <a:pPr>
              <a:buFont typeface="Arial" panose="020B0604020202020204" pitchFamily="34" charset="0"/>
              <a:buChar char="•"/>
            </a:pPr>
            <a:r>
              <a:rPr lang="en-US"/>
              <a:t>Changing load</a:t>
            </a:r>
          </a:p>
          <a:p>
            <a:pPr>
              <a:buFont typeface="Arial" panose="020B0604020202020204" pitchFamily="34" charset="0"/>
              <a:buChar char="•"/>
            </a:pPr>
            <a:r>
              <a:rPr lang="en-US"/>
              <a:t>Local conditions and load changes </a:t>
            </a:r>
            <a:endParaRPr lang="de-DE"/>
          </a:p>
        </p:txBody>
      </p:sp>
      <p:sp>
        <p:nvSpPr>
          <p:cNvPr id="14" name="Untertitel 3">
            <a:extLst>
              <a:ext uri="{FF2B5EF4-FFF2-40B4-BE49-F238E27FC236}">
                <a16:creationId xmlns:a16="http://schemas.microsoft.com/office/drawing/2014/main" id="{70D8283B-838F-7304-E20E-E3F94B3F6925}"/>
              </a:ext>
            </a:extLst>
          </p:cNvPr>
          <p:cNvSpPr txBox="1">
            <a:spLocks/>
          </p:cNvSpPr>
          <p:nvPr/>
        </p:nvSpPr>
        <p:spPr>
          <a:xfrm>
            <a:off x="719137" y="4324187"/>
            <a:ext cx="5944510" cy="290583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a:t>At the end of this chapter, you will:</a:t>
            </a:r>
          </a:p>
          <a:p>
            <a:pPr>
              <a:buFont typeface="+mj-lt"/>
              <a:buAutoNum type="arabicPeriod"/>
            </a:pPr>
            <a:r>
              <a:rPr lang="en-US"/>
              <a:t>Understand how connecting PV panels in series or parallel influences voltage and current</a:t>
            </a:r>
          </a:p>
          <a:p>
            <a:pPr>
              <a:buFont typeface="+mj-lt"/>
              <a:buAutoNum type="arabicPeriod"/>
            </a:pPr>
            <a:r>
              <a:rPr lang="en-US"/>
              <a:t>Be able to evaluate how different configurations affect overall system voltage, current, and power output. </a:t>
            </a:r>
          </a:p>
          <a:p>
            <a:pPr>
              <a:buFont typeface="+mj-lt"/>
              <a:buAutoNum type="arabicPeriod"/>
            </a:pPr>
            <a:r>
              <a:rPr lang="en-US"/>
              <a:t>Manage the impact of both fixed and variable loads on PV system performance. </a:t>
            </a:r>
          </a:p>
          <a:p>
            <a:pPr>
              <a:buFont typeface="+mj-lt"/>
              <a:buAutoNum type="arabicPeriod"/>
            </a:pPr>
            <a:r>
              <a:rPr lang="en-US"/>
              <a:t>Apply Maximum Power Point (MPP) tracking to optimize the energy output from PV panels. </a:t>
            </a:r>
          </a:p>
          <a:p>
            <a:pPr>
              <a:buFont typeface="+mj-lt"/>
              <a:buAutoNum type="arabicPeriod"/>
            </a:pPr>
            <a:r>
              <a:rPr lang="en-US"/>
              <a:t>Adapt to local environmental conditions to maximize the efficiency of your PV system.</a:t>
            </a:r>
          </a:p>
        </p:txBody>
      </p:sp>
      <p:sp>
        <p:nvSpPr>
          <p:cNvPr id="15" name="Untertitel 5">
            <a:extLst>
              <a:ext uri="{FF2B5EF4-FFF2-40B4-BE49-F238E27FC236}">
                <a16:creationId xmlns:a16="http://schemas.microsoft.com/office/drawing/2014/main" id="{D11F5D38-E76B-2625-D4C9-29A036A7C2F9}"/>
              </a:ext>
            </a:extLst>
          </p:cNvPr>
          <p:cNvSpPr txBox="1">
            <a:spLocks/>
          </p:cNvSpPr>
          <p:nvPr/>
        </p:nvSpPr>
        <p:spPr>
          <a:xfrm>
            <a:off x="713442" y="3934541"/>
            <a:ext cx="450918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5"/>
                </a:solidFill>
              </a:rPr>
              <a:t>Learning </a:t>
            </a:r>
            <a:r>
              <a:rPr lang="de-DE" sz="1200" err="1">
                <a:solidFill>
                  <a:schemeClr val="accent5"/>
                </a:solidFill>
              </a:rPr>
              <a:t>Objective</a:t>
            </a:r>
            <a:endParaRPr lang="de-DE" sz="1200">
              <a:solidFill>
                <a:schemeClr val="accent5"/>
              </a:solidFill>
            </a:endParaRPr>
          </a:p>
        </p:txBody>
      </p:sp>
    </p:spTree>
    <p:extLst>
      <p:ext uri="{BB962C8B-B14F-4D97-AF65-F5344CB8AC3E}">
        <p14:creationId xmlns:p14="http://schemas.microsoft.com/office/powerpoint/2010/main" val="361637937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50D6293B-D603-A6B7-001A-B0B762A22416}"/>
              </a:ext>
            </a:extLst>
          </p:cNvPr>
          <p:cNvSpPr>
            <a:spLocks noGrp="1"/>
          </p:cNvSpPr>
          <p:nvPr>
            <p:ph type="sldNum" sz="quarter" idx="10"/>
          </p:nvPr>
        </p:nvSpPr>
        <p:spPr/>
        <p:txBody>
          <a:bodyPr/>
          <a:lstStyle/>
          <a:p>
            <a:fld id="{DF7F771E-9578-4C04-B869-01AF4C35C90C}" type="slidenum">
              <a:rPr lang="de-DE" smtClean="0"/>
              <a:t>66</a:t>
            </a:fld>
            <a:endParaRPr lang="de-DE"/>
          </a:p>
        </p:txBody>
      </p:sp>
      <p:sp>
        <p:nvSpPr>
          <p:cNvPr id="8" name="Titel 1">
            <a:extLst>
              <a:ext uri="{FF2B5EF4-FFF2-40B4-BE49-F238E27FC236}">
                <a16:creationId xmlns:a16="http://schemas.microsoft.com/office/drawing/2014/main" id="{428BFE46-4C41-90D6-CDCF-C58328D6830C}"/>
              </a:ext>
            </a:extLst>
          </p:cNvPr>
          <p:cNvSpPr>
            <a:spLocks noGrp="1"/>
          </p:cNvSpPr>
          <p:nvPr>
            <p:ph type="title"/>
          </p:nvPr>
        </p:nvSpPr>
        <p:spPr>
          <a:xfrm>
            <a:off x="719137" y="1277937"/>
            <a:ext cx="6250847" cy="479559"/>
          </a:xfrm>
        </p:spPr>
        <p:txBody>
          <a:bodyPr/>
          <a:lstStyle/>
          <a:p>
            <a:r>
              <a:rPr lang="en-US"/>
              <a:t>Exercise: Analyzing Energy Consumption Profiles of Household Appliances</a:t>
            </a:r>
            <a:endParaRPr lang="de-DE"/>
          </a:p>
        </p:txBody>
      </p:sp>
      <p:sp>
        <p:nvSpPr>
          <p:cNvPr id="9" name="Untertitel 3">
            <a:extLst>
              <a:ext uri="{FF2B5EF4-FFF2-40B4-BE49-F238E27FC236}">
                <a16:creationId xmlns:a16="http://schemas.microsoft.com/office/drawing/2014/main" id="{27720A78-01E1-53C9-0F15-41492E42D573}"/>
              </a:ext>
            </a:extLst>
          </p:cNvPr>
          <p:cNvSpPr txBox="1">
            <a:spLocks/>
          </p:cNvSpPr>
          <p:nvPr/>
        </p:nvSpPr>
        <p:spPr>
          <a:xfrm>
            <a:off x="719138" y="2867541"/>
            <a:ext cx="5944510"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For this exercise, please use the Excel file named "</a:t>
            </a:r>
            <a:r>
              <a:rPr lang="en-US" dirty="0" err="1"/>
              <a:t>Exercise_Appliances</a:t>
            </a:r>
            <a:r>
              <a:rPr lang="en-US" dirty="0"/>
              <a:t>" along with the worksheet and follow the directions to find the solutions. You can download the Excel on the Moodle Box.</a:t>
            </a:r>
            <a:endParaRPr lang="de-DE" dirty="0"/>
          </a:p>
        </p:txBody>
      </p:sp>
      <p:sp>
        <p:nvSpPr>
          <p:cNvPr id="10" name="Untertitel 5">
            <a:extLst>
              <a:ext uri="{FF2B5EF4-FFF2-40B4-BE49-F238E27FC236}">
                <a16:creationId xmlns:a16="http://schemas.microsoft.com/office/drawing/2014/main" id="{823F6E47-B141-F9C6-16C4-746AAC4F1FA9}"/>
              </a:ext>
            </a:extLst>
          </p:cNvPr>
          <p:cNvSpPr txBox="1">
            <a:spLocks/>
          </p:cNvSpPr>
          <p:nvPr/>
        </p:nvSpPr>
        <p:spPr>
          <a:xfrm>
            <a:off x="719138" y="3673908"/>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Task 1: Visualizing Energy Consumption Profiles of Household Appliances</a:t>
            </a:r>
            <a:endParaRPr lang="de-DE" sz="1200">
              <a:solidFill>
                <a:schemeClr val="accent2"/>
              </a:solidFill>
            </a:endParaRPr>
          </a:p>
        </p:txBody>
      </p:sp>
      <p:sp>
        <p:nvSpPr>
          <p:cNvPr id="11" name="Untertitel 3">
            <a:extLst>
              <a:ext uri="{FF2B5EF4-FFF2-40B4-BE49-F238E27FC236}">
                <a16:creationId xmlns:a16="http://schemas.microsoft.com/office/drawing/2014/main" id="{A74AD424-63A3-CCB9-59EF-EEDD8C5A3C25}"/>
              </a:ext>
            </a:extLst>
          </p:cNvPr>
          <p:cNvSpPr txBox="1">
            <a:spLocks/>
          </p:cNvSpPr>
          <p:nvPr/>
        </p:nvSpPr>
        <p:spPr>
          <a:xfrm>
            <a:off x="719137" y="4101281"/>
            <a:ext cx="6021877" cy="44163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a:pPr>
            <a:r>
              <a:rPr lang="en-US" b="1" i="1"/>
              <a:t>Initial Descriptions</a:t>
            </a:r>
            <a:r>
              <a:rPr lang="en-US"/>
              <a:t>: In this part you are given brief descriptions of the energy consumption profiles of four different household appliances. In the next section you will be asked to create charts using Excel, that visualize the actual energy consumption profiles of these devices. Then you will match the descriptions with the corresponding visuals. Here are the basic descriptions:</a:t>
            </a:r>
          </a:p>
          <a:p>
            <a:pPr marL="768350" lvl="1" indent="-171450" algn="l">
              <a:buFont typeface="Arial" panose="020B0604020202020204" pitchFamily="34" charset="0"/>
              <a:buChar char="•"/>
            </a:pPr>
            <a:r>
              <a:rPr lang="en-US" b="1" i="1"/>
              <a:t>Washing Machine (WM):</a:t>
            </a:r>
          </a:p>
          <a:p>
            <a:pPr marL="1225550" lvl="2" indent="-171450" algn="l">
              <a:buFont typeface="Arial" panose="020B0604020202020204" pitchFamily="34" charset="0"/>
              <a:buChar char="•"/>
            </a:pPr>
            <a:r>
              <a:rPr lang="en-US"/>
              <a:t>Multiple Peaks over the duration of operation</a:t>
            </a:r>
          </a:p>
          <a:p>
            <a:pPr marL="1225550" lvl="2" indent="-171450" algn="l">
              <a:buFont typeface="Arial" panose="020B0604020202020204" pitchFamily="34" charset="0"/>
              <a:buChar char="•"/>
            </a:pPr>
            <a:r>
              <a:rPr lang="en-US"/>
              <a:t>High peaks during washing/heating cycles,</a:t>
            </a:r>
          </a:p>
          <a:p>
            <a:pPr marL="1225550" lvl="2" indent="-171450" algn="l">
              <a:buFont typeface="Arial" panose="020B0604020202020204" pitchFamily="34" charset="0"/>
              <a:buChar char="•"/>
            </a:pPr>
            <a:r>
              <a:rPr lang="en-US"/>
              <a:t>Relatively lower peaks for spinning cycles towards the end</a:t>
            </a:r>
          </a:p>
          <a:p>
            <a:pPr marL="768350" lvl="1" indent="-171450" algn="l">
              <a:buFont typeface="Arial" panose="020B0604020202020204" pitchFamily="34" charset="0"/>
              <a:buChar char="•"/>
            </a:pPr>
            <a:r>
              <a:rPr lang="en-US" b="1" i="1"/>
              <a:t>Dishwasher (DW): </a:t>
            </a:r>
          </a:p>
          <a:p>
            <a:pPr marL="1225550" lvl="2" indent="-171450" algn="l">
              <a:buFont typeface="Arial" panose="020B0604020202020204" pitchFamily="34" charset="0"/>
              <a:buChar char="•"/>
            </a:pPr>
            <a:r>
              <a:rPr lang="en-US"/>
              <a:t>Multiple Peaks over the duration of operation</a:t>
            </a:r>
          </a:p>
          <a:p>
            <a:pPr marL="1225550" lvl="2" indent="-171450" algn="l">
              <a:buFont typeface="Arial" panose="020B0604020202020204" pitchFamily="34" charset="0"/>
              <a:buChar char="•"/>
            </a:pPr>
            <a:r>
              <a:rPr lang="en-US"/>
              <a:t>Peak level values of the spikes are generally close to each other</a:t>
            </a:r>
          </a:p>
          <a:p>
            <a:pPr marL="768350" lvl="1" indent="-171450" algn="l">
              <a:buFont typeface="Arial" panose="020B0604020202020204" pitchFamily="34" charset="0"/>
              <a:buChar char="•"/>
            </a:pPr>
            <a:r>
              <a:rPr lang="en-US" b="1" i="1"/>
              <a:t>Kettle (K):</a:t>
            </a:r>
          </a:p>
          <a:p>
            <a:pPr marL="1225550" lvl="2" indent="-171450" algn="l">
              <a:buFont typeface="Arial" panose="020B0604020202020204" pitchFamily="34" charset="0"/>
              <a:buChar char="•"/>
            </a:pPr>
            <a:r>
              <a:rPr lang="en-US"/>
              <a:t>Rapid and high spike in power usage</a:t>
            </a:r>
          </a:p>
          <a:p>
            <a:pPr marL="1225550" lvl="2" indent="-171450" algn="l">
              <a:buFont typeface="Arial" panose="020B0604020202020204" pitchFamily="34" charset="0"/>
              <a:buChar char="•"/>
            </a:pPr>
            <a:r>
              <a:rPr lang="en-US"/>
              <a:t>Consistent power level during operation</a:t>
            </a:r>
          </a:p>
          <a:p>
            <a:pPr marL="768350" lvl="1" indent="-171450" algn="l">
              <a:buFont typeface="Arial" panose="020B0604020202020204" pitchFamily="34" charset="0"/>
              <a:buChar char="•"/>
            </a:pPr>
            <a:r>
              <a:rPr lang="en-US" b="1" i="1"/>
              <a:t>Hair Dryer (HD): </a:t>
            </a:r>
          </a:p>
          <a:p>
            <a:pPr marL="1225550" lvl="2" indent="-171450" algn="l">
              <a:buFont typeface="Arial" panose="020B0604020202020204" pitchFamily="34" charset="0"/>
              <a:buChar char="•"/>
            </a:pPr>
            <a:r>
              <a:rPr lang="en-US"/>
              <a:t>Rapid and high spike in power usage</a:t>
            </a:r>
          </a:p>
          <a:p>
            <a:pPr marL="1225550" lvl="2" indent="-171450" algn="l">
              <a:buFont typeface="Arial" panose="020B0604020202020204" pitchFamily="34" charset="0"/>
              <a:buChar char="•"/>
            </a:pPr>
            <a:r>
              <a:rPr lang="en-US"/>
              <a:t>Depending on the operation mode it can have different peak values (The peak is lower than Kettle for the example)</a:t>
            </a:r>
          </a:p>
          <a:p>
            <a:pPr marL="1225550" lvl="2" indent="-171450" algn="l">
              <a:buFont typeface="Arial" panose="020B0604020202020204" pitchFamily="34" charset="0"/>
              <a:buChar char="•"/>
            </a:pPr>
            <a:r>
              <a:rPr lang="en-US"/>
              <a:t>Consistent power level during operation</a:t>
            </a:r>
          </a:p>
        </p:txBody>
      </p:sp>
    </p:spTree>
    <p:extLst>
      <p:ext uri="{BB962C8B-B14F-4D97-AF65-F5344CB8AC3E}">
        <p14:creationId xmlns:p14="http://schemas.microsoft.com/office/powerpoint/2010/main" val="27405059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85C4FA8-71DD-EC31-D5F5-26DB9C7EE001}"/>
              </a:ext>
            </a:extLst>
          </p:cNvPr>
          <p:cNvSpPr>
            <a:spLocks noGrp="1"/>
          </p:cNvSpPr>
          <p:nvPr>
            <p:ph type="sldNum" sz="quarter" idx="4"/>
          </p:nvPr>
        </p:nvSpPr>
        <p:spPr/>
        <p:txBody>
          <a:bodyPr/>
          <a:lstStyle/>
          <a:p>
            <a:fld id="{DF7F771E-9578-4C04-B869-01AF4C35C90C}" type="slidenum">
              <a:rPr lang="de-DE" smtClean="0"/>
              <a:t>67</a:t>
            </a:fld>
            <a:endParaRPr lang="de-DE"/>
          </a:p>
        </p:txBody>
      </p:sp>
      <p:sp>
        <p:nvSpPr>
          <p:cNvPr id="2" name="Untertitel 3">
            <a:extLst>
              <a:ext uri="{FF2B5EF4-FFF2-40B4-BE49-F238E27FC236}">
                <a16:creationId xmlns:a16="http://schemas.microsoft.com/office/drawing/2014/main" id="{65481F30-CC4E-3B1F-39EF-F17EC424D62B}"/>
              </a:ext>
            </a:extLst>
          </p:cNvPr>
          <p:cNvSpPr txBox="1">
            <a:spLocks/>
          </p:cNvSpPr>
          <p:nvPr/>
        </p:nvSpPr>
        <p:spPr>
          <a:xfrm>
            <a:off x="740583" y="1296185"/>
            <a:ext cx="5921208" cy="250182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startAt="2"/>
            </a:pPr>
            <a:r>
              <a:rPr lang="en-US" b="1" i="1"/>
              <a:t>Data Analysis and Visualization:</a:t>
            </a:r>
          </a:p>
          <a:p>
            <a:pPr marL="768350" lvl="1" indent="-171450" algn="l">
              <a:buFont typeface="Arial" panose="020B0604020202020204" pitchFamily="34" charset="0"/>
              <a:buChar char="•"/>
            </a:pPr>
            <a:r>
              <a:rPr lang="en-US"/>
              <a:t>Open the </a:t>
            </a:r>
            <a:r>
              <a:rPr lang="en-US" err="1"/>
              <a:t>Exc</a:t>
            </a:r>
            <a:r>
              <a:rPr lang="tr-TR"/>
              <a:t>d</a:t>
            </a:r>
            <a:r>
              <a:rPr lang="en-US" err="1"/>
              <a:t>el</a:t>
            </a:r>
            <a:r>
              <a:rPr lang="en-US"/>
              <a:t> file named "</a:t>
            </a:r>
            <a:r>
              <a:rPr lang="en-US" err="1"/>
              <a:t>Exercise_Appliances</a:t>
            </a:r>
            <a:r>
              <a:rPr lang="en-US"/>
              <a:t>" and navigate to the sheet named "Task 1". Here you will find the combined datasets for the energy consumption profiles of 4 household appliances mentioned in part 1. </a:t>
            </a:r>
          </a:p>
          <a:p>
            <a:pPr marL="768350" lvl="1" indent="-171450" algn="l">
              <a:buFont typeface="Arial" panose="020B0604020202020204" pitchFamily="34" charset="0"/>
              <a:buChar char="•"/>
            </a:pPr>
            <a:r>
              <a:rPr lang="en-US"/>
              <a:t>They are labeled as HA1 (HouseholdAppliance1), HA2 (HouseholdAppliance2), HA3 (HouseholdAppliance3) and HA4 (HouseholdAppliance4), in a random order.</a:t>
            </a:r>
            <a:endParaRPr lang="tr-TR"/>
          </a:p>
          <a:p>
            <a:pPr marL="139700" indent="0"/>
            <a:r>
              <a:rPr lang="en-US"/>
              <a:t>Your task is to perform a Pivot Table Analysis to generate charts for appliances. After creating the PivotTable charts, you can discuss and make educated guesses about which </a:t>
            </a:r>
            <a:r>
              <a:rPr lang="tr-TR"/>
              <a:t>l</a:t>
            </a:r>
            <a:r>
              <a:rPr lang="en-US" err="1"/>
              <a:t>abel</a:t>
            </a:r>
            <a:r>
              <a:rPr lang="en-US"/>
              <a:t> belongs to which appliance. Please fill your answers in the boxes below. (Washing Machine, Dishwasher, Kettle, Hair Dryer).</a:t>
            </a:r>
          </a:p>
          <a:p>
            <a:pPr marL="139700" indent="0"/>
            <a:endParaRPr lang="en-US"/>
          </a:p>
          <a:p>
            <a:pPr marL="139700" indent="0"/>
            <a:endParaRPr lang="en-US"/>
          </a:p>
        </p:txBody>
      </p:sp>
      <p:sp>
        <p:nvSpPr>
          <p:cNvPr id="3" name="Rechteck 2">
            <a:extLst>
              <a:ext uri="{FF2B5EF4-FFF2-40B4-BE49-F238E27FC236}">
                <a16:creationId xmlns:a16="http://schemas.microsoft.com/office/drawing/2014/main" id="{BEE320E6-67B4-62EE-01AA-18A78A8A819E}"/>
              </a:ext>
            </a:extLst>
          </p:cNvPr>
          <p:cNvSpPr/>
          <p:nvPr/>
        </p:nvSpPr>
        <p:spPr>
          <a:xfrm>
            <a:off x="854745" y="3721998"/>
            <a:ext cx="5921208" cy="4136793"/>
          </a:xfrm>
          <a:prstGeom prst="rect">
            <a:avLst/>
          </a:prstGeom>
          <a:solidFill>
            <a:srgbClr val="FBEDE1"/>
          </a:solidFill>
          <a:ln>
            <a:solidFill>
              <a:srgbClr val="F0BB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Untertitel 5">
            <a:extLst>
              <a:ext uri="{FF2B5EF4-FFF2-40B4-BE49-F238E27FC236}">
                <a16:creationId xmlns:a16="http://schemas.microsoft.com/office/drawing/2014/main" id="{6F828A17-3E2A-6210-B2A9-761A55AFE933}"/>
              </a:ext>
            </a:extLst>
          </p:cNvPr>
          <p:cNvSpPr txBox="1">
            <a:spLocks/>
          </p:cNvSpPr>
          <p:nvPr/>
        </p:nvSpPr>
        <p:spPr>
          <a:xfrm>
            <a:off x="854745" y="3702759"/>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Guide </a:t>
            </a:r>
            <a:r>
              <a:rPr lang="de-DE" err="1"/>
              <a:t>for</a:t>
            </a:r>
            <a:r>
              <a:rPr lang="de-DE"/>
              <a:t> PivotTable Analysis</a:t>
            </a:r>
          </a:p>
        </p:txBody>
      </p:sp>
      <p:sp>
        <p:nvSpPr>
          <p:cNvPr id="6" name="Untertitel 2">
            <a:extLst>
              <a:ext uri="{FF2B5EF4-FFF2-40B4-BE49-F238E27FC236}">
                <a16:creationId xmlns:a16="http://schemas.microsoft.com/office/drawing/2014/main" id="{F84AE3A9-5ED9-934E-EB30-5A14FD94C0F9}"/>
              </a:ext>
            </a:extLst>
          </p:cNvPr>
          <p:cNvSpPr txBox="1">
            <a:spLocks/>
          </p:cNvSpPr>
          <p:nvPr/>
        </p:nvSpPr>
        <p:spPr>
          <a:xfrm>
            <a:off x="1031805" y="4142504"/>
            <a:ext cx="5629985" cy="37783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Select all the data available on the sheet (Task 1)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Insert” tab.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PivotTable and choose the "New Worksheet" option from the pop-up window. </a:t>
            </a:r>
          </a:p>
          <a:p>
            <a:pPr marL="139700">
              <a:lnSpc>
                <a:spcPct val="115000"/>
              </a:lnSpc>
              <a:buClr>
                <a:schemeClr val="lt1"/>
              </a:buClr>
              <a:buSzPts val="1400"/>
            </a:pPr>
            <a:r>
              <a:rPr lang="en-US">
                <a:latin typeface="Sofia Sans" panose="020B0604020202020204" charset="0"/>
              </a:rPr>
              <a:t>	</a:t>
            </a:r>
            <a:r>
              <a:rPr lang="en-US" i="1">
                <a:latin typeface="Sofia Sans" panose="020B0604020202020204" charset="0"/>
              </a:rPr>
              <a:t>Note: Rename this sheet as "Task1_Profile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In the “PivotTable Analyze tab”, click the "Field List"</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onfigure the PivotTable fields as follows:</a:t>
            </a:r>
          </a:p>
          <a:p>
            <a:pPr marL="139700">
              <a:lnSpc>
                <a:spcPct val="115000"/>
              </a:lnSpc>
              <a:buClr>
                <a:schemeClr val="lt1"/>
              </a:buClr>
              <a:buSzPts val="1400"/>
            </a:pPr>
            <a:r>
              <a:rPr lang="en-US">
                <a:latin typeface="Sofia Sans" panose="020B0604020202020204" charset="0"/>
              </a:rPr>
              <a:t>	1. Columns: Appliance Type</a:t>
            </a:r>
          </a:p>
          <a:p>
            <a:pPr marL="139700">
              <a:lnSpc>
                <a:spcPct val="115000"/>
              </a:lnSpc>
              <a:buClr>
                <a:schemeClr val="lt1"/>
              </a:buClr>
              <a:buSzPts val="1400"/>
            </a:pPr>
            <a:r>
              <a:rPr lang="en-US">
                <a:latin typeface="Sofia Sans" panose="020B0604020202020204" charset="0"/>
              </a:rPr>
              <a:t>	2. Rows: Operation Time (Seconds)</a:t>
            </a:r>
          </a:p>
          <a:p>
            <a:pPr marL="139700">
              <a:lnSpc>
                <a:spcPct val="115000"/>
              </a:lnSpc>
              <a:buClr>
                <a:schemeClr val="lt1"/>
              </a:buClr>
              <a:buSzPts val="1400"/>
            </a:pPr>
            <a:r>
              <a:rPr lang="en-US">
                <a:latin typeface="Sofia Sans" panose="020B0604020202020204" charset="0"/>
              </a:rPr>
              <a:t>	3. Values: Power Converted (Watts) (Ensure it is set to "Sum" 	by right-clicking on "Power Converted (Watts)" and selecting 	"Value Field Setting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PivotTable, navigate to PivotTable Analyze  Tools  Pivot Chart, and select "2D Area Chart." (Avoid selecting a stacked area chart.)</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Lastly navigate to PivotTable Analyze tab again and click on “Insert Slicer”, from the pop-up window you should select “Appliance Type”. This slicer will allow users to easily manipulate which appliance/s are shown in the chart. </a:t>
            </a:r>
          </a:p>
        </p:txBody>
      </p:sp>
      <p:graphicFrame>
        <p:nvGraphicFramePr>
          <p:cNvPr id="11" name="Google Shape;630;p38">
            <a:extLst>
              <a:ext uri="{FF2B5EF4-FFF2-40B4-BE49-F238E27FC236}">
                <a16:creationId xmlns:a16="http://schemas.microsoft.com/office/drawing/2014/main" id="{68F8901C-DE8B-7D42-8749-5897B5E0830B}"/>
              </a:ext>
            </a:extLst>
          </p:cNvPr>
          <p:cNvGraphicFramePr/>
          <p:nvPr>
            <p:extLst>
              <p:ext uri="{D42A27DB-BD31-4B8C-83A1-F6EECF244321}">
                <p14:modId xmlns:p14="http://schemas.microsoft.com/office/powerpoint/2010/main" val="2439333763"/>
              </p:ext>
            </p:extLst>
          </p:nvPr>
        </p:nvGraphicFramePr>
        <p:xfrm>
          <a:off x="854745" y="8111118"/>
          <a:ext cx="5921208" cy="1447057"/>
        </p:xfrm>
        <a:graphic>
          <a:graphicData uri="http://schemas.openxmlformats.org/drawingml/2006/table">
            <a:tbl>
              <a:tblPr>
                <a:noFill/>
                <a:tableStyleId>{F0CFADBD-3245-443C-9B6D-9ACBA4CA32A5}</a:tableStyleId>
              </a:tblPr>
              <a:tblGrid>
                <a:gridCol w="1480302">
                  <a:extLst>
                    <a:ext uri="{9D8B030D-6E8A-4147-A177-3AD203B41FA5}">
                      <a16:colId xmlns:a16="http://schemas.microsoft.com/office/drawing/2014/main" val="20000"/>
                    </a:ext>
                  </a:extLst>
                </a:gridCol>
                <a:gridCol w="1480302">
                  <a:extLst>
                    <a:ext uri="{9D8B030D-6E8A-4147-A177-3AD203B41FA5}">
                      <a16:colId xmlns:a16="http://schemas.microsoft.com/office/drawing/2014/main" val="20001"/>
                    </a:ext>
                  </a:extLst>
                </a:gridCol>
                <a:gridCol w="1480302">
                  <a:extLst>
                    <a:ext uri="{9D8B030D-6E8A-4147-A177-3AD203B41FA5}">
                      <a16:colId xmlns:a16="http://schemas.microsoft.com/office/drawing/2014/main" val="20002"/>
                    </a:ext>
                  </a:extLst>
                </a:gridCol>
                <a:gridCol w="1480302">
                  <a:extLst>
                    <a:ext uri="{9D8B030D-6E8A-4147-A177-3AD203B41FA5}">
                      <a16:colId xmlns:a16="http://schemas.microsoft.com/office/drawing/2014/main" val="2472991007"/>
                    </a:ext>
                  </a:extLst>
                </a:gridCol>
              </a:tblGrid>
              <a:tr h="753076">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Appliance 1 </a:t>
                      </a:r>
                    </a:p>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A1)</a:t>
                      </a:r>
                      <a:endParaRPr sz="1157" b="1" i="0" u="none" strike="noStrike" cap="none">
                        <a:solidFill>
                          <a:srgbClr val="000000"/>
                        </a:solidFill>
                        <a:effectLst/>
                        <a:latin typeface="Arial"/>
                        <a:ea typeface="Epilogue"/>
                        <a:cs typeface="Arial"/>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Appliance 2 </a:t>
                      </a:r>
                    </a:p>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A2)</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Appliance 3 </a:t>
                      </a:r>
                    </a:p>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A3)</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157" b="1" i="0" u="none" strike="noStrike" cap="none">
                          <a:solidFill>
                            <a:srgbClr val="000000"/>
                          </a:solidFill>
                          <a:effectLst/>
                          <a:latin typeface="Arial"/>
                          <a:ea typeface="Epilogue"/>
                          <a:cs typeface="Arial"/>
                          <a:sym typeface="Epilogue"/>
                        </a:rPr>
                        <a:t>Household Appliance 4 </a:t>
                      </a:r>
                    </a:p>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lang="de-DE" sz="1157" b="1" i="0" u="none" strike="noStrike" cap="none">
                          <a:solidFill>
                            <a:srgbClr val="000000"/>
                          </a:solidFill>
                          <a:effectLst/>
                          <a:latin typeface="Arial"/>
                          <a:ea typeface="Epilogue"/>
                          <a:cs typeface="Arial"/>
                          <a:sym typeface="Epilogue"/>
                        </a:rPr>
                        <a:t>(HA4)</a:t>
                      </a: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0"/>
                  </a:ext>
                </a:extLst>
              </a:tr>
              <a:tr h="693981">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9134160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5A1E6CD-A125-84BF-4CDA-6B9BFC78A69C}"/>
              </a:ext>
            </a:extLst>
          </p:cNvPr>
          <p:cNvSpPr>
            <a:spLocks noGrp="1"/>
          </p:cNvSpPr>
          <p:nvPr>
            <p:ph type="sldNum" sz="quarter" idx="4"/>
          </p:nvPr>
        </p:nvSpPr>
        <p:spPr/>
        <p:txBody>
          <a:bodyPr/>
          <a:lstStyle/>
          <a:p>
            <a:fld id="{DF7F771E-9578-4C04-B869-01AF4C35C90C}" type="slidenum">
              <a:rPr lang="de-DE" smtClean="0"/>
              <a:t>68</a:t>
            </a:fld>
            <a:endParaRPr lang="de-DE"/>
          </a:p>
        </p:txBody>
      </p:sp>
      <p:sp>
        <p:nvSpPr>
          <p:cNvPr id="6" name="Untertitel 5">
            <a:extLst>
              <a:ext uri="{FF2B5EF4-FFF2-40B4-BE49-F238E27FC236}">
                <a16:creationId xmlns:a16="http://schemas.microsoft.com/office/drawing/2014/main" id="{CBFB0E06-A192-5FEA-BE9E-F8A228849D87}"/>
              </a:ext>
            </a:extLst>
          </p:cNvPr>
          <p:cNvSpPr txBox="1">
            <a:spLocks/>
          </p:cNvSpPr>
          <p:nvPr/>
        </p:nvSpPr>
        <p:spPr>
          <a:xfrm>
            <a:off x="719138" y="1294307"/>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Task 2: Analyzing Different Usage Modes for the Kettle</a:t>
            </a:r>
            <a:endParaRPr lang="de-DE" sz="1200">
              <a:solidFill>
                <a:schemeClr val="accent2"/>
              </a:solidFill>
            </a:endParaRPr>
          </a:p>
        </p:txBody>
      </p:sp>
      <p:sp>
        <p:nvSpPr>
          <p:cNvPr id="7" name="Untertitel 3">
            <a:extLst>
              <a:ext uri="{FF2B5EF4-FFF2-40B4-BE49-F238E27FC236}">
                <a16:creationId xmlns:a16="http://schemas.microsoft.com/office/drawing/2014/main" id="{4C00F268-6097-74E7-7456-436303E4978B}"/>
              </a:ext>
            </a:extLst>
          </p:cNvPr>
          <p:cNvSpPr txBox="1">
            <a:spLocks/>
          </p:cNvSpPr>
          <p:nvPr/>
        </p:nvSpPr>
        <p:spPr>
          <a:xfrm>
            <a:off x="719139" y="1642916"/>
            <a:ext cx="5942890" cy="308479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i="1"/>
              <a:t>For task 2 and task 3, we will focus on a single appliance, namely the Kettle. Now you should navigate to the sheet named “Task 2” in the Excel file (</a:t>
            </a:r>
            <a:r>
              <a:rPr lang="en-US" i="1" err="1"/>
              <a:t>Exercise_Appliances</a:t>
            </a:r>
            <a:r>
              <a:rPr lang="en-US" i="1"/>
              <a:t>).</a:t>
            </a:r>
          </a:p>
          <a:p>
            <a:pPr marL="139700" indent="0"/>
            <a:endParaRPr lang="en-US" i="1"/>
          </a:p>
          <a:p>
            <a:pPr marL="368300" indent="-228600">
              <a:buFont typeface="+mj-lt"/>
              <a:buAutoNum type="arabicPeriod"/>
            </a:pPr>
            <a:r>
              <a:rPr lang="en-US" b="1" i="1"/>
              <a:t>Data Analysis and Visualization:</a:t>
            </a:r>
          </a:p>
          <a:p>
            <a:pPr marL="768350" lvl="1" indent="-171450" algn="l">
              <a:buFont typeface="Arial" panose="020B0604020202020204" pitchFamily="34" charset="0"/>
              <a:buChar char="•"/>
            </a:pPr>
            <a:r>
              <a:rPr lang="en-US"/>
              <a:t>Open the sheet named “Task 2". Here you will find the combined datasets for the energy consumption profiles of different modes of operation of a Kettle.  </a:t>
            </a:r>
          </a:p>
          <a:p>
            <a:pPr marL="768350" lvl="1" indent="-171450" algn="l">
              <a:buFont typeface="Arial" panose="020B0604020202020204" pitchFamily="34" charset="0"/>
              <a:buChar char="•"/>
            </a:pPr>
            <a:r>
              <a:rPr lang="en-US"/>
              <a:t>6 different usage modes of the Kettle are pre-assigned as </a:t>
            </a:r>
            <a:r>
              <a:rPr lang="en-US" err="1"/>
              <a:t>ModeA</a:t>
            </a:r>
            <a:r>
              <a:rPr lang="en-US"/>
              <a:t>, </a:t>
            </a:r>
            <a:r>
              <a:rPr lang="en-US" err="1"/>
              <a:t>ModeB</a:t>
            </a:r>
            <a:r>
              <a:rPr lang="en-US"/>
              <a:t> </a:t>
            </a:r>
            <a:r>
              <a:rPr lang="en-US" err="1"/>
              <a:t>ModeC</a:t>
            </a:r>
            <a:r>
              <a:rPr lang="en-US"/>
              <a:t>, </a:t>
            </a:r>
            <a:r>
              <a:rPr lang="en-US" err="1"/>
              <a:t>ModeD</a:t>
            </a:r>
            <a:r>
              <a:rPr lang="en-US"/>
              <a:t>, </a:t>
            </a:r>
            <a:r>
              <a:rPr lang="en-US" err="1"/>
              <a:t>ModeE</a:t>
            </a:r>
            <a:r>
              <a:rPr lang="en-US"/>
              <a:t> and </a:t>
            </a:r>
            <a:r>
              <a:rPr lang="en-US" err="1"/>
              <a:t>ModeF</a:t>
            </a:r>
            <a:r>
              <a:rPr lang="en-US"/>
              <a:t>, representing differing amounts of water in the container of the kettle (from minimum 2 cups of water up to 7 cups), in a random order. Note: 1 cup = 250 ml of water.</a:t>
            </a:r>
          </a:p>
          <a:p>
            <a:pPr marL="768350" lvl="1" indent="-171450" algn="l">
              <a:buFont typeface="Arial" panose="020B0604020202020204" pitchFamily="34" charset="0"/>
              <a:buChar char="•"/>
            </a:pPr>
            <a:r>
              <a:rPr lang="en-US"/>
              <a:t>Your task is to create two Pivot Tables based on this dataset. One for energy consumption profiles of each mode and the other one for calculating the total energy consumption of each mode.</a:t>
            </a:r>
          </a:p>
        </p:txBody>
      </p:sp>
      <p:sp>
        <p:nvSpPr>
          <p:cNvPr id="11" name="Untertitel 3">
            <a:extLst>
              <a:ext uri="{FF2B5EF4-FFF2-40B4-BE49-F238E27FC236}">
                <a16:creationId xmlns:a16="http://schemas.microsoft.com/office/drawing/2014/main" id="{60A8AFE6-E814-B045-75B9-60211D9B7B6B}"/>
              </a:ext>
            </a:extLst>
          </p:cNvPr>
          <p:cNvSpPr txBox="1">
            <a:spLocks/>
          </p:cNvSpPr>
          <p:nvPr/>
        </p:nvSpPr>
        <p:spPr>
          <a:xfrm>
            <a:off x="714545" y="4414324"/>
            <a:ext cx="5885337" cy="63711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startAt="2"/>
            </a:pPr>
            <a:r>
              <a:rPr lang="en-US" b="1" i="1"/>
              <a:t>Energy Consumption Profiles: </a:t>
            </a:r>
            <a:r>
              <a:rPr lang="en-US"/>
              <a:t>Please fill in how many cups of water was used for each mode (from 2 cups of water up to 7 cups).</a:t>
            </a:r>
          </a:p>
          <a:p>
            <a:pPr marL="139700" indent="0"/>
            <a:endParaRPr lang="en-US"/>
          </a:p>
        </p:txBody>
      </p:sp>
      <p:sp>
        <p:nvSpPr>
          <p:cNvPr id="13" name="Rechteck 7">
            <a:extLst>
              <a:ext uri="{FF2B5EF4-FFF2-40B4-BE49-F238E27FC236}">
                <a16:creationId xmlns:a16="http://schemas.microsoft.com/office/drawing/2014/main" id="{AA4E3529-6D03-76D5-F4E4-9CC504540B6B}"/>
              </a:ext>
            </a:extLst>
          </p:cNvPr>
          <p:cNvSpPr/>
          <p:nvPr/>
        </p:nvSpPr>
        <p:spPr>
          <a:xfrm>
            <a:off x="736228" y="5016396"/>
            <a:ext cx="5921208" cy="4353639"/>
          </a:xfrm>
          <a:prstGeom prst="rect">
            <a:avLst/>
          </a:prstGeom>
          <a:solidFill>
            <a:srgbClr val="FBEDE1"/>
          </a:solidFill>
          <a:ln>
            <a:solidFill>
              <a:srgbClr val="F0BB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Untertitel 5">
            <a:extLst>
              <a:ext uri="{FF2B5EF4-FFF2-40B4-BE49-F238E27FC236}">
                <a16:creationId xmlns:a16="http://schemas.microsoft.com/office/drawing/2014/main" id="{53A86EE8-7F1D-22EA-47DD-1604C52CD528}"/>
              </a:ext>
            </a:extLst>
          </p:cNvPr>
          <p:cNvSpPr txBox="1">
            <a:spLocks/>
          </p:cNvSpPr>
          <p:nvPr/>
        </p:nvSpPr>
        <p:spPr>
          <a:xfrm>
            <a:off x="736228" y="5018702"/>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Guide </a:t>
            </a:r>
            <a:r>
              <a:rPr lang="de-DE" err="1"/>
              <a:t>for</a:t>
            </a:r>
            <a:r>
              <a:rPr lang="de-DE"/>
              <a:t> PivotTable Analysis</a:t>
            </a:r>
          </a:p>
        </p:txBody>
      </p:sp>
      <p:sp>
        <p:nvSpPr>
          <p:cNvPr id="15" name="Untertitel 2">
            <a:extLst>
              <a:ext uri="{FF2B5EF4-FFF2-40B4-BE49-F238E27FC236}">
                <a16:creationId xmlns:a16="http://schemas.microsoft.com/office/drawing/2014/main" id="{C1CEDA4B-2702-95DE-5B8A-04ECC4940F23}"/>
              </a:ext>
            </a:extLst>
          </p:cNvPr>
          <p:cNvSpPr txBox="1">
            <a:spLocks/>
          </p:cNvSpPr>
          <p:nvPr/>
        </p:nvSpPr>
        <p:spPr>
          <a:xfrm>
            <a:off x="984717" y="5362808"/>
            <a:ext cx="5465948" cy="407566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Select all the data available on the sheet “Task 2”</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Insert” tab.</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PivotTable and choose the "New Worksheet" option from the pop-up window.</a:t>
            </a:r>
          </a:p>
          <a:p>
            <a:pPr marL="139700">
              <a:lnSpc>
                <a:spcPct val="115000"/>
              </a:lnSpc>
              <a:buClr>
                <a:schemeClr val="lt1"/>
              </a:buClr>
              <a:buSzPts val="1400"/>
            </a:pPr>
            <a:r>
              <a:rPr lang="en-US">
                <a:latin typeface="Sofia Sans" panose="020B0604020202020204" charset="0"/>
              </a:rPr>
              <a:t>	</a:t>
            </a:r>
            <a:r>
              <a:rPr lang="en-US" i="1">
                <a:latin typeface="Sofia Sans" panose="020B0604020202020204" charset="0"/>
              </a:rPr>
              <a:t>Note: Rename this sheet as 'Task2_Profile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anywhere on the PivotTable and navigate to the “PivotTable Analyze” tab, open the "Field List.“</a:t>
            </a:r>
            <a:endParaRPr lang="tr-TR">
              <a:latin typeface="Sofia Sans" panose="020B0604020202020204" charset="0"/>
            </a:endParaRP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onfigure the PivotTable fields as follows:</a:t>
            </a:r>
          </a:p>
          <a:p>
            <a:pPr marL="139700">
              <a:lnSpc>
                <a:spcPct val="115000"/>
              </a:lnSpc>
              <a:buClr>
                <a:schemeClr val="lt1"/>
              </a:buClr>
              <a:buSzPts val="1400"/>
            </a:pPr>
            <a:r>
              <a:rPr lang="en-US">
                <a:latin typeface="Sofia Sans" panose="020B0604020202020204" charset="0"/>
              </a:rPr>
              <a:t>	1. Columns: Operation Mode</a:t>
            </a:r>
          </a:p>
          <a:p>
            <a:pPr marL="139700">
              <a:lnSpc>
                <a:spcPct val="115000"/>
              </a:lnSpc>
              <a:buClr>
                <a:schemeClr val="lt1"/>
              </a:buClr>
              <a:buSzPts val="1400"/>
            </a:pPr>
            <a:r>
              <a:rPr lang="en-US">
                <a:latin typeface="Sofia Sans" panose="020B0604020202020204" charset="0"/>
              </a:rPr>
              <a:t>	2. Rows: Operation Time (Seconds)</a:t>
            </a:r>
          </a:p>
          <a:p>
            <a:pPr marL="139700">
              <a:lnSpc>
                <a:spcPct val="115000"/>
              </a:lnSpc>
              <a:buClr>
                <a:schemeClr val="lt1"/>
              </a:buClr>
              <a:buSzPts val="1400"/>
            </a:pPr>
            <a:r>
              <a:rPr lang="en-US">
                <a:latin typeface="Sofia Sans" panose="020B0604020202020204" charset="0"/>
              </a:rPr>
              <a:t>	3. Values: Power Converted (Watts) (Ensure it is set to "Sum" by 	right-clicking on "Power Converted (Watts)" and selecting "Value 	Field Settings.")</a:t>
            </a:r>
          </a:p>
          <a:p>
            <a:pPr marL="311150" indent="-171450">
              <a:lnSpc>
                <a:spcPct val="115000"/>
              </a:lnSpc>
              <a:buClr>
                <a:schemeClr val="lt1"/>
              </a:buClr>
              <a:buSzPts val="1400"/>
              <a:buFont typeface="Arial" panose="020B0604020202020204" pitchFamily="34" charset="0"/>
              <a:buChar char="•"/>
            </a:pPr>
            <a:r>
              <a:rPr lang="en-US">
                <a:latin typeface="Sofia Sans" panose="020B0604020202020204" charset="0"/>
              </a:rPr>
              <a:t>Again, click anywhere on the PivotTable and navigate to PivotTable Analyze ➔ Tools ➔ Pivot Chart, and select "2D Area Chart." (Avoid selecting a stacked area chart.)</a:t>
            </a:r>
          </a:p>
          <a:p>
            <a:pPr marL="311150" indent="-171450">
              <a:lnSpc>
                <a:spcPct val="115000"/>
              </a:lnSpc>
              <a:buClr>
                <a:schemeClr val="lt1"/>
              </a:buClr>
              <a:buSzPts val="1400"/>
              <a:buFont typeface="Arial" panose="020B0604020202020204" pitchFamily="34" charset="0"/>
              <a:buChar char="•"/>
            </a:pPr>
            <a:r>
              <a:rPr lang="en-US">
                <a:latin typeface="Sofia Sans" panose="020B0604020202020204" charset="0"/>
              </a:rPr>
              <a:t>Lastly navigate to PivotTable Analyze tab again and click on “Insert Slicer”, from the pop-up window you should select “Appliance Type.” This slicer will allow users to easily manipulate which appliance/s are shown in the chart</a:t>
            </a:r>
          </a:p>
        </p:txBody>
      </p:sp>
    </p:spTree>
    <p:extLst>
      <p:ext uri="{BB962C8B-B14F-4D97-AF65-F5344CB8AC3E}">
        <p14:creationId xmlns:p14="http://schemas.microsoft.com/office/powerpoint/2010/main" val="24977677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32089E22-96D6-49F3-E853-67C6A0B2C3C3}"/>
              </a:ext>
            </a:extLst>
          </p:cNvPr>
          <p:cNvSpPr>
            <a:spLocks noGrp="1"/>
          </p:cNvSpPr>
          <p:nvPr>
            <p:ph type="sldNum" sz="quarter" idx="4"/>
          </p:nvPr>
        </p:nvSpPr>
        <p:spPr/>
        <p:txBody>
          <a:bodyPr/>
          <a:lstStyle/>
          <a:p>
            <a:fld id="{DF7F771E-9578-4C04-B869-01AF4C35C90C}" type="slidenum">
              <a:rPr lang="de-DE" smtClean="0"/>
              <a:t>69</a:t>
            </a:fld>
            <a:endParaRPr lang="de-DE"/>
          </a:p>
        </p:txBody>
      </p:sp>
      <p:sp>
        <p:nvSpPr>
          <p:cNvPr id="11" name="Rechteck 10">
            <a:extLst>
              <a:ext uri="{FF2B5EF4-FFF2-40B4-BE49-F238E27FC236}">
                <a16:creationId xmlns:a16="http://schemas.microsoft.com/office/drawing/2014/main" id="{1EB80734-2EB9-DB7D-01E9-801D048546EC}"/>
              </a:ext>
            </a:extLst>
          </p:cNvPr>
          <p:cNvSpPr/>
          <p:nvPr/>
        </p:nvSpPr>
        <p:spPr>
          <a:xfrm>
            <a:off x="719139" y="3107004"/>
            <a:ext cx="5921208" cy="6340118"/>
          </a:xfrm>
          <a:prstGeom prst="rect">
            <a:avLst/>
          </a:prstGeom>
          <a:solidFill>
            <a:srgbClr val="FBEDE1"/>
          </a:solidFill>
          <a:ln>
            <a:solidFill>
              <a:srgbClr val="F0BB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Untertitel 5">
            <a:extLst>
              <a:ext uri="{FF2B5EF4-FFF2-40B4-BE49-F238E27FC236}">
                <a16:creationId xmlns:a16="http://schemas.microsoft.com/office/drawing/2014/main" id="{3ED285F0-70E3-13FF-A5FE-2E622FF24C59}"/>
              </a:ext>
            </a:extLst>
          </p:cNvPr>
          <p:cNvSpPr txBox="1">
            <a:spLocks/>
          </p:cNvSpPr>
          <p:nvPr/>
        </p:nvSpPr>
        <p:spPr>
          <a:xfrm>
            <a:off x="783309" y="3146626"/>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Guide </a:t>
            </a:r>
            <a:r>
              <a:rPr lang="de-DE" err="1"/>
              <a:t>for</a:t>
            </a:r>
            <a:r>
              <a:rPr lang="de-DE"/>
              <a:t> PivotTable Analysis</a:t>
            </a:r>
          </a:p>
        </p:txBody>
      </p:sp>
      <p:sp>
        <p:nvSpPr>
          <p:cNvPr id="13" name="Untertitel 2">
            <a:extLst>
              <a:ext uri="{FF2B5EF4-FFF2-40B4-BE49-F238E27FC236}">
                <a16:creationId xmlns:a16="http://schemas.microsoft.com/office/drawing/2014/main" id="{CB095927-359F-0E17-3A05-E28998DC53C3}"/>
              </a:ext>
            </a:extLst>
          </p:cNvPr>
          <p:cNvSpPr txBox="1">
            <a:spLocks/>
          </p:cNvSpPr>
          <p:nvPr/>
        </p:nvSpPr>
        <p:spPr>
          <a:xfrm>
            <a:off x="719138" y="3565267"/>
            <a:ext cx="5921208" cy="588185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Navigate back to sheet “Task2” and select all the data available on the sheet.</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Insert” tab.</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PivotTable and choose the "New Worksheet" option from the pop-up window.</a:t>
            </a:r>
          </a:p>
          <a:p>
            <a:pPr marL="139700">
              <a:lnSpc>
                <a:spcPct val="115000"/>
              </a:lnSpc>
              <a:buClr>
                <a:schemeClr val="lt1"/>
              </a:buClr>
              <a:buSzPts val="1400"/>
            </a:pPr>
            <a:r>
              <a:rPr lang="en-US">
                <a:latin typeface="Sofia Sans" panose="020B0604020202020204" charset="0"/>
              </a:rPr>
              <a:t>	</a:t>
            </a:r>
            <a:r>
              <a:rPr lang="en-US" i="1">
                <a:latin typeface="Sofia Sans" panose="020B0604020202020204" charset="0"/>
              </a:rPr>
              <a:t>Note: Rename this sheet as 'Task2_TotalConsumption’</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anywhere on the PivotTable and navigate to the “PivotTable Analyze” tab.</a:t>
            </a:r>
            <a:endParaRPr lang="tr-TR">
              <a:latin typeface="Sofia Sans" panose="020B0604020202020204" charset="0"/>
            </a:endParaRP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In the calculations section click "Field, Items, &amp; Sets” and choose “Calculate Field”.</a:t>
            </a:r>
          </a:p>
          <a:p>
            <a:pPr marL="139700">
              <a:lnSpc>
                <a:spcPct val="115000"/>
              </a:lnSpc>
              <a:buClr>
                <a:schemeClr val="lt1"/>
              </a:buClr>
              <a:buSzPts val="1400"/>
            </a:pPr>
            <a:r>
              <a:rPr lang="en-US">
                <a:latin typeface="Sofia Sans" panose="020B0604020202020204" charset="0"/>
              </a:rPr>
              <a:t>	1. In the pop-up window there are 2 areas of interest “Name” and 	“Formula”.</a:t>
            </a:r>
          </a:p>
          <a:p>
            <a:pPr marL="139700">
              <a:lnSpc>
                <a:spcPct val="115000"/>
              </a:lnSpc>
              <a:buClr>
                <a:schemeClr val="lt1"/>
              </a:buClr>
              <a:buSzPts val="1400"/>
            </a:pPr>
            <a:r>
              <a:rPr lang="en-US">
                <a:latin typeface="Sofia Sans" panose="020B0604020202020204" charset="0"/>
              </a:rPr>
              <a:t>	2. Configure as follows:</a:t>
            </a:r>
          </a:p>
          <a:p>
            <a:pPr marL="139700" lvl="7">
              <a:lnSpc>
                <a:spcPct val="115000"/>
              </a:lnSpc>
              <a:buClr>
                <a:schemeClr val="lt1"/>
              </a:buClr>
              <a:buSzPts val="1400"/>
            </a:pPr>
            <a:r>
              <a:rPr lang="en-US">
                <a:latin typeface="Sofia Sans" panose="020B0604020202020204" charset="0"/>
              </a:rPr>
              <a:t>	Name: Type in this field “Total Energy Consumption in kWh”</a:t>
            </a:r>
          </a:p>
          <a:p>
            <a:pPr marL="139700">
              <a:lnSpc>
                <a:spcPct val="115000"/>
              </a:lnSpc>
              <a:buClr>
                <a:schemeClr val="lt1"/>
              </a:buClr>
              <a:buSzPts val="1400"/>
            </a:pPr>
            <a:r>
              <a:rPr lang="en-US">
                <a:latin typeface="Sofia Sans" panose="020B0604020202020204" charset="0"/>
              </a:rPr>
              <a:t>	Formula: Click on the Formula window ➔ choose “Power Converted 	(Watts) from the “Fields” window ➔ Click “insert” ➔ then type the 	Formula. To convert from </a:t>
            </a:r>
            <a:r>
              <a:rPr lang="en-US" err="1">
                <a:latin typeface="Sofia Sans" panose="020B0604020202020204" charset="0"/>
              </a:rPr>
              <a:t>Ws</a:t>
            </a:r>
            <a:r>
              <a:rPr lang="en-US">
                <a:latin typeface="Sofia Sans" panose="020B0604020202020204" charset="0"/>
              </a:rPr>
              <a:t> to kWh we need to divide our figure 	with this value “(3600*1000)”. The resulting formula should look </a:t>
            </a:r>
            <a:r>
              <a:rPr lang="tr-TR">
                <a:latin typeface="Sofia Sans" panose="020B0604020202020204" charset="0"/>
              </a:rPr>
              <a:t> </a:t>
            </a:r>
            <a:r>
              <a:rPr lang="en-US">
                <a:latin typeface="Sofia Sans" panose="020B0604020202020204" charset="0"/>
              </a:rPr>
              <a:t>like this</a:t>
            </a:r>
          </a:p>
          <a:p>
            <a:pPr marL="139700">
              <a:lnSpc>
                <a:spcPct val="115000"/>
              </a:lnSpc>
              <a:buClr>
                <a:schemeClr val="lt1"/>
              </a:buClr>
              <a:buSzPts val="1400"/>
            </a:pPr>
            <a:r>
              <a:rPr lang="en-US">
                <a:latin typeface="Sofia Sans" panose="020B0604020202020204" charset="0"/>
              </a:rPr>
              <a:t>	“= ‘Power Converted (Watts)’ / (3600*1000)”</a:t>
            </a:r>
          </a:p>
          <a:p>
            <a:pPr marL="139700">
              <a:lnSpc>
                <a:spcPct val="115000"/>
              </a:lnSpc>
              <a:buClr>
                <a:schemeClr val="lt1"/>
              </a:buClr>
              <a:buSzPts val="1400"/>
            </a:pPr>
            <a:r>
              <a:rPr lang="en-US">
                <a:latin typeface="Sofia Sans" panose="020B0604020202020204" charset="0"/>
              </a:rPr>
              <a:t>	➔ Click “Add” and then “Ok”</a:t>
            </a:r>
          </a:p>
          <a:p>
            <a:pPr marL="139700">
              <a:lnSpc>
                <a:spcPct val="115000"/>
              </a:lnSpc>
              <a:buClr>
                <a:schemeClr val="lt1"/>
              </a:buClr>
              <a:buSzPts val="1400"/>
            </a:pPr>
            <a:r>
              <a:rPr lang="en-US" i="1">
                <a:latin typeface="Sofia Sans" panose="020B0604020202020204" charset="0"/>
              </a:rPr>
              <a:t>Note: This formula divides the total power consumption by 1000 to convert watts to kilowatts and then by 3600 to convert seconds to hours.</a:t>
            </a:r>
            <a:endParaRPr lang="en-US">
              <a:latin typeface="Sofia Sans" panose="020B0604020202020204" charset="0"/>
            </a:endParaRP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onfigure the Fields as follows:</a:t>
            </a:r>
          </a:p>
          <a:p>
            <a:pPr marL="139700">
              <a:lnSpc>
                <a:spcPct val="115000"/>
              </a:lnSpc>
              <a:buClr>
                <a:schemeClr val="lt1"/>
              </a:buClr>
              <a:buSzPts val="1400"/>
            </a:pPr>
            <a:r>
              <a:rPr lang="en-US">
                <a:latin typeface="Sofia Sans" panose="020B0604020202020204" charset="0"/>
              </a:rPr>
              <a:t>	1. Columns: Operation Mode</a:t>
            </a:r>
          </a:p>
          <a:p>
            <a:pPr marL="139700">
              <a:lnSpc>
                <a:spcPct val="115000"/>
              </a:lnSpc>
              <a:buClr>
                <a:schemeClr val="lt1"/>
              </a:buClr>
              <a:buSzPts val="1400"/>
            </a:pPr>
            <a:r>
              <a:rPr lang="en-US">
                <a:latin typeface="Sofia Sans" panose="020B0604020202020204" charset="0"/>
              </a:rPr>
              <a:t>	2. Values: Total Energy Consumption in kWh</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PivotTable Analyze ➔ Tools ➔ Pivot Chart and select "Column or Bar Charts." (Avoid selecting the stacked chart option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Lastly navigate to PivotTable Analyze tab again and click on “Insert Slicer”, from the pop-up window you should select “Appliance Type”. This slicer will allow users to easily manipulate which appliance/s are shown in the chart.</a:t>
            </a:r>
          </a:p>
          <a:p>
            <a:pPr marL="457200" indent="-317500">
              <a:lnSpc>
                <a:spcPct val="115000"/>
              </a:lnSpc>
              <a:buClr>
                <a:schemeClr val="lt1"/>
              </a:buClr>
              <a:buSzPts val="1400"/>
              <a:buFont typeface="Arial" panose="020B0604020202020204" pitchFamily="34" charset="0"/>
              <a:buChar char="•"/>
            </a:pPr>
            <a:endParaRPr lang="en-US">
              <a:latin typeface="Sofia Sans" panose="020B0604020202020204" charset="0"/>
            </a:endParaRPr>
          </a:p>
        </p:txBody>
      </p:sp>
      <p:sp>
        <p:nvSpPr>
          <p:cNvPr id="2" name="Untertitel 3">
            <a:extLst>
              <a:ext uri="{FF2B5EF4-FFF2-40B4-BE49-F238E27FC236}">
                <a16:creationId xmlns:a16="http://schemas.microsoft.com/office/drawing/2014/main" id="{D22588C8-3377-9095-5721-C28163FC1628}"/>
              </a:ext>
            </a:extLst>
          </p:cNvPr>
          <p:cNvSpPr txBox="1">
            <a:spLocks/>
          </p:cNvSpPr>
          <p:nvPr/>
        </p:nvSpPr>
        <p:spPr>
          <a:xfrm>
            <a:off x="721823" y="2453239"/>
            <a:ext cx="5921208" cy="63711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startAt="3"/>
            </a:pPr>
            <a:r>
              <a:rPr lang="en-US" b="1" i="1"/>
              <a:t>Total Energy Consumption: </a:t>
            </a:r>
            <a:r>
              <a:rPr lang="en-US"/>
              <a:t>Please fill in the total amounts of energy consumed by each mode (Round your answers to three decimal places).</a:t>
            </a:r>
          </a:p>
        </p:txBody>
      </p:sp>
      <p:graphicFrame>
        <p:nvGraphicFramePr>
          <p:cNvPr id="4" name="Google Shape;630;p38">
            <a:extLst>
              <a:ext uri="{FF2B5EF4-FFF2-40B4-BE49-F238E27FC236}">
                <a16:creationId xmlns:a16="http://schemas.microsoft.com/office/drawing/2014/main" id="{90E67B74-047D-3CA1-1FA1-FC03E9B339F8}"/>
              </a:ext>
            </a:extLst>
          </p:cNvPr>
          <p:cNvGraphicFramePr/>
          <p:nvPr>
            <p:extLst>
              <p:ext uri="{D42A27DB-BD31-4B8C-83A1-F6EECF244321}">
                <p14:modId xmlns:p14="http://schemas.microsoft.com/office/powerpoint/2010/main" val="1185235300"/>
              </p:ext>
            </p:extLst>
          </p:nvPr>
        </p:nvGraphicFramePr>
        <p:xfrm>
          <a:off x="729615" y="1309257"/>
          <a:ext cx="5921208" cy="921083"/>
        </p:xfrm>
        <a:graphic>
          <a:graphicData uri="http://schemas.openxmlformats.org/drawingml/2006/table">
            <a:tbl>
              <a:tblPr>
                <a:noFill/>
                <a:tableStyleId>{F0CFADBD-3245-443C-9B6D-9ACBA4CA32A5}</a:tableStyleId>
              </a:tblPr>
              <a:tblGrid>
                <a:gridCol w="986868">
                  <a:extLst>
                    <a:ext uri="{9D8B030D-6E8A-4147-A177-3AD203B41FA5}">
                      <a16:colId xmlns:a16="http://schemas.microsoft.com/office/drawing/2014/main" val="20000"/>
                    </a:ext>
                  </a:extLst>
                </a:gridCol>
                <a:gridCol w="986868">
                  <a:extLst>
                    <a:ext uri="{9D8B030D-6E8A-4147-A177-3AD203B41FA5}">
                      <a16:colId xmlns:a16="http://schemas.microsoft.com/office/drawing/2014/main" val="20001"/>
                    </a:ext>
                  </a:extLst>
                </a:gridCol>
                <a:gridCol w="986868">
                  <a:extLst>
                    <a:ext uri="{9D8B030D-6E8A-4147-A177-3AD203B41FA5}">
                      <a16:colId xmlns:a16="http://schemas.microsoft.com/office/drawing/2014/main" val="20002"/>
                    </a:ext>
                  </a:extLst>
                </a:gridCol>
                <a:gridCol w="986868">
                  <a:extLst>
                    <a:ext uri="{9D8B030D-6E8A-4147-A177-3AD203B41FA5}">
                      <a16:colId xmlns:a16="http://schemas.microsoft.com/office/drawing/2014/main" val="2472991007"/>
                    </a:ext>
                  </a:extLst>
                </a:gridCol>
                <a:gridCol w="986868">
                  <a:extLst>
                    <a:ext uri="{9D8B030D-6E8A-4147-A177-3AD203B41FA5}">
                      <a16:colId xmlns:a16="http://schemas.microsoft.com/office/drawing/2014/main" val="351844238"/>
                    </a:ext>
                  </a:extLst>
                </a:gridCol>
                <a:gridCol w="986868">
                  <a:extLst>
                    <a:ext uri="{9D8B030D-6E8A-4147-A177-3AD203B41FA5}">
                      <a16:colId xmlns:a16="http://schemas.microsoft.com/office/drawing/2014/main" val="4156805010"/>
                    </a:ext>
                  </a:extLst>
                </a:gridCol>
              </a:tblGrid>
              <a:tr h="357319">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A</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B</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C</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D</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E</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F</a:t>
                      </a: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0"/>
                  </a:ext>
                </a:extLst>
              </a:tr>
              <a:tr h="563764">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7368970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DC95FD5-9D2A-515F-E49B-A46670706E83}"/>
              </a:ext>
            </a:extLst>
          </p:cNvPr>
          <p:cNvSpPr>
            <a:spLocks noGrp="1"/>
          </p:cNvSpPr>
          <p:nvPr>
            <p:ph type="sldNum" sz="quarter" idx="10"/>
          </p:nvPr>
        </p:nvSpPr>
        <p:spPr/>
        <p:txBody>
          <a:bodyPr/>
          <a:lstStyle/>
          <a:p>
            <a:fld id="{DF7F771E-9578-4C04-B869-01AF4C35C90C}" type="slidenum">
              <a:rPr lang="de-DE" smtClean="0"/>
              <a:t>7</a:t>
            </a:fld>
            <a:endParaRPr lang="de-DE"/>
          </a:p>
        </p:txBody>
      </p:sp>
      <p:sp>
        <p:nvSpPr>
          <p:cNvPr id="5" name="Titel 1">
            <a:extLst>
              <a:ext uri="{FF2B5EF4-FFF2-40B4-BE49-F238E27FC236}">
                <a16:creationId xmlns:a16="http://schemas.microsoft.com/office/drawing/2014/main" id="{00BF61E3-667D-A868-F8B9-88B5DD8C5722}"/>
              </a:ext>
            </a:extLst>
          </p:cNvPr>
          <p:cNvSpPr txBox="1">
            <a:spLocks/>
          </p:cNvSpPr>
          <p:nvPr/>
        </p:nvSpPr>
        <p:spPr>
          <a:xfrm>
            <a:off x="595250" y="1121461"/>
            <a:ext cx="6369175" cy="51970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1pPr>
            <a:lvl2pPr marR="0" lvl="1"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2pPr>
            <a:lvl3pPr marR="0" lvl="2"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3pPr>
            <a:lvl4pPr marR="0" lvl="3"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4pPr>
            <a:lvl5pPr marR="0" lvl="4"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5pPr>
            <a:lvl6pPr marR="0" lvl="5"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6pPr>
            <a:lvl7pPr marR="0" lvl="6"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7pPr>
            <a:lvl8pPr marR="0" lvl="7"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8pPr>
            <a:lvl9pPr marR="0" lvl="8" algn="l" rtl="0">
              <a:lnSpc>
                <a:spcPct val="100000"/>
              </a:lnSpc>
              <a:spcBef>
                <a:spcPts val="0"/>
              </a:spcBef>
              <a:spcAft>
                <a:spcPts val="0"/>
              </a:spcAft>
              <a:buClr>
                <a:schemeClr val="dk1"/>
              </a:buClr>
              <a:buSzPts val="2800"/>
              <a:buFont typeface="Epilogue"/>
              <a:buNone/>
              <a:defRPr sz="2800" b="1" i="0" u="none" strike="noStrike" cap="none">
                <a:solidFill>
                  <a:schemeClr val="dk1"/>
                </a:solidFill>
                <a:latin typeface="Epilogue"/>
                <a:ea typeface="Epilogue"/>
                <a:cs typeface="Epilogue"/>
                <a:sym typeface="Epilogue"/>
              </a:defRPr>
            </a:lvl9pPr>
          </a:lstStyle>
          <a:p>
            <a:r>
              <a:rPr lang="de-DE" err="1"/>
              <a:t>Definitions</a:t>
            </a:r>
            <a:endParaRPr lang="de-DE"/>
          </a:p>
        </p:txBody>
      </p:sp>
      <p:sp>
        <p:nvSpPr>
          <p:cNvPr id="6" name="Untertitel 3">
            <a:extLst>
              <a:ext uri="{FF2B5EF4-FFF2-40B4-BE49-F238E27FC236}">
                <a16:creationId xmlns:a16="http://schemas.microsoft.com/office/drawing/2014/main" id="{6D948975-7DED-F9AE-D7E2-F1D1967F6784}"/>
              </a:ext>
            </a:extLst>
          </p:cNvPr>
          <p:cNvSpPr txBox="1">
            <a:spLocks/>
          </p:cNvSpPr>
          <p:nvPr/>
        </p:nvSpPr>
        <p:spPr>
          <a:xfrm>
            <a:off x="719138" y="2002816"/>
            <a:ext cx="6321425" cy="634816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b="1" i="1" dirty="0"/>
              <a:t>Photovoltaics (PV): </a:t>
            </a:r>
          </a:p>
          <a:p>
            <a:pPr marL="139700" indent="0"/>
            <a:r>
              <a:rPr lang="en-US" dirty="0"/>
              <a:t>Technology that converts the energy in visible light from the Sun into an electric current by means of solar cells. Using the photoelectric effect, where photons dislodge electrons into the electrical grid, the upper layer of the solar cell are caused to move, thus creating an electric current that can be used to operate an electrical device or be fed into the electrical grid</a:t>
            </a:r>
          </a:p>
          <a:p>
            <a:endParaRPr lang="en-US" dirty="0"/>
          </a:p>
          <a:p>
            <a:r>
              <a:rPr lang="en-US" b="1" i="1" dirty="0"/>
              <a:t>Photovoltaic system (PV system): </a:t>
            </a:r>
          </a:p>
          <a:p>
            <a:pPr marL="139700" indent="0"/>
            <a:r>
              <a:rPr lang="en-US" dirty="0"/>
              <a:t>A system for converting solar energy into electrical energy. Usually consists of several components, including solar panels, inverters, and often batteries, that collectively convert and manage the production of solar energy into usable electrical energy.</a:t>
            </a:r>
          </a:p>
          <a:p>
            <a:endParaRPr lang="en-US" b="1" i="1" dirty="0"/>
          </a:p>
          <a:p>
            <a:r>
              <a:rPr lang="en-US" b="1" i="1" dirty="0"/>
              <a:t>Solar cell (PV cell): </a:t>
            </a:r>
          </a:p>
          <a:p>
            <a:r>
              <a:rPr lang="en-US" dirty="0"/>
              <a:t>The basic unit of a PV system that converts light into electrical energy.</a:t>
            </a:r>
          </a:p>
          <a:p>
            <a:endParaRPr lang="en-US" dirty="0"/>
          </a:p>
          <a:p>
            <a:r>
              <a:rPr lang="en-US" b="1" i="1" dirty="0"/>
              <a:t>PV module: </a:t>
            </a:r>
          </a:p>
          <a:p>
            <a:r>
              <a:rPr lang="en-US" dirty="0"/>
              <a:t>An array of multiple PV cells connected in series to boost the voltage to useful levels.</a:t>
            </a:r>
          </a:p>
          <a:p>
            <a:endParaRPr lang="en-US" b="1" i="1" dirty="0"/>
          </a:p>
          <a:p>
            <a:r>
              <a:rPr lang="en-US" b="1" i="1" dirty="0"/>
              <a:t>Semiconductor Material (usually silicon): </a:t>
            </a:r>
          </a:p>
          <a:p>
            <a:r>
              <a:rPr lang="en-US" dirty="0"/>
              <a:t>The main material responsible for converting light into electricity.</a:t>
            </a:r>
          </a:p>
          <a:p>
            <a:endParaRPr lang="en-US" dirty="0"/>
          </a:p>
          <a:p>
            <a:r>
              <a:rPr lang="en-US" b="1" i="1" dirty="0"/>
              <a:t>P and N layers: </a:t>
            </a:r>
          </a:p>
          <a:p>
            <a:pPr marL="139700" indent="0"/>
            <a:r>
              <a:rPr lang="en-US" dirty="0"/>
              <a:t>The P layer contains positive charge carriers (holes), and the N-Layer contains negative charge carriers (electrons).</a:t>
            </a:r>
          </a:p>
          <a:p>
            <a:endParaRPr lang="en-US" dirty="0"/>
          </a:p>
          <a:p>
            <a:r>
              <a:rPr lang="en-US" b="1" i="1" dirty="0" err="1"/>
              <a:t>Pn</a:t>
            </a:r>
            <a:r>
              <a:rPr lang="en-US" b="1" i="1" dirty="0"/>
              <a:t>-junction: </a:t>
            </a:r>
          </a:p>
          <a:p>
            <a:r>
              <a:rPr lang="en-US" dirty="0"/>
              <a:t>The interface between the P and N layers where light is converted to electricity.</a:t>
            </a:r>
          </a:p>
          <a:p>
            <a:endParaRPr lang="en-US" dirty="0"/>
          </a:p>
          <a:p>
            <a:r>
              <a:rPr lang="en-US" b="1" i="1" dirty="0"/>
              <a:t>Electrodes: </a:t>
            </a:r>
          </a:p>
          <a:p>
            <a:r>
              <a:rPr lang="en-US" dirty="0"/>
              <a:t>Collect and conduct the generated elections to create electric current. </a:t>
            </a:r>
          </a:p>
        </p:txBody>
      </p:sp>
    </p:spTree>
    <p:extLst>
      <p:ext uri="{BB962C8B-B14F-4D97-AF65-F5344CB8AC3E}">
        <p14:creationId xmlns:p14="http://schemas.microsoft.com/office/powerpoint/2010/main" val="411873540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A4AB9E3-F379-79F4-5706-5550E44DB6EE}"/>
              </a:ext>
            </a:extLst>
          </p:cNvPr>
          <p:cNvSpPr>
            <a:spLocks noGrp="1"/>
          </p:cNvSpPr>
          <p:nvPr>
            <p:ph type="sldNum" sz="quarter" idx="4"/>
          </p:nvPr>
        </p:nvSpPr>
        <p:spPr/>
        <p:txBody>
          <a:bodyPr/>
          <a:lstStyle/>
          <a:p>
            <a:fld id="{DF7F771E-9578-4C04-B869-01AF4C35C90C}" type="slidenum">
              <a:rPr lang="de-DE" smtClean="0"/>
              <a:t>70</a:t>
            </a:fld>
            <a:endParaRPr lang="de-DE"/>
          </a:p>
        </p:txBody>
      </p:sp>
      <p:sp>
        <p:nvSpPr>
          <p:cNvPr id="6" name="Untertitel 5">
            <a:extLst>
              <a:ext uri="{FF2B5EF4-FFF2-40B4-BE49-F238E27FC236}">
                <a16:creationId xmlns:a16="http://schemas.microsoft.com/office/drawing/2014/main" id="{81777B61-8AE7-4C27-B5BA-55E431E8159E}"/>
              </a:ext>
            </a:extLst>
          </p:cNvPr>
          <p:cNvSpPr txBox="1">
            <a:spLocks/>
          </p:cNvSpPr>
          <p:nvPr/>
        </p:nvSpPr>
        <p:spPr>
          <a:xfrm>
            <a:off x="744305" y="2478266"/>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Task 3: Practical Examples: Kettle</a:t>
            </a:r>
            <a:endParaRPr lang="de-DE" sz="1200">
              <a:solidFill>
                <a:schemeClr val="accent2"/>
              </a:solidFill>
            </a:endParaRPr>
          </a:p>
        </p:txBody>
      </p:sp>
      <p:sp>
        <p:nvSpPr>
          <p:cNvPr id="7" name="Untertitel 3">
            <a:extLst>
              <a:ext uri="{FF2B5EF4-FFF2-40B4-BE49-F238E27FC236}">
                <a16:creationId xmlns:a16="http://schemas.microsoft.com/office/drawing/2014/main" id="{98AE21B3-6B82-0EA5-7DD6-9DE90637E40B}"/>
              </a:ext>
            </a:extLst>
          </p:cNvPr>
          <p:cNvSpPr txBox="1">
            <a:spLocks/>
          </p:cNvSpPr>
          <p:nvPr/>
        </p:nvSpPr>
        <p:spPr>
          <a:xfrm>
            <a:off x="744304" y="2905639"/>
            <a:ext cx="5885337" cy="424726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i="1"/>
              <a:t>For the following exercises we will use the same Kettle and its data, and we will make an assumption,</a:t>
            </a:r>
            <a:endParaRPr lang="tr-TR" i="1"/>
          </a:p>
          <a:p>
            <a:pPr marL="139700" indent="0"/>
            <a:endParaRPr lang="en-US" i="1"/>
          </a:p>
          <a:p>
            <a:pPr marL="139700" indent="0"/>
            <a:r>
              <a:rPr lang="en-US" b="1" i="1"/>
              <a:t>Assumption</a:t>
            </a:r>
            <a:r>
              <a:rPr lang="en-US"/>
              <a:t>:  We consider that there are three distinct user groups in three different households. They all have the same kettle, and it is the one visualized in Task2. Their habit of using the Kettle is summarized below.</a:t>
            </a:r>
          </a:p>
          <a:p>
            <a:pPr marL="139700" indent="0"/>
            <a:endParaRPr lang="en-US"/>
          </a:p>
          <a:p>
            <a:pPr marL="596900" lvl="1" indent="0" algn="l"/>
            <a:r>
              <a:rPr lang="en-US" b="1" i="1"/>
              <a:t>Household 1</a:t>
            </a:r>
            <a:r>
              <a:rPr lang="en-US"/>
              <a:t>: Adds exactly 2 cups of excess water per use. (If possible)</a:t>
            </a:r>
          </a:p>
          <a:p>
            <a:pPr marL="596900" lvl="1" indent="0" algn="l"/>
            <a:r>
              <a:rPr lang="en-US" b="1" i="1"/>
              <a:t>Household 2</a:t>
            </a:r>
            <a:r>
              <a:rPr lang="en-US"/>
              <a:t>: Adds exactly 1 cup of excess water per use. (If possible)</a:t>
            </a:r>
          </a:p>
          <a:p>
            <a:pPr marL="596900" lvl="1" indent="0" algn="l"/>
            <a:r>
              <a:rPr lang="en-US" b="1" i="1"/>
              <a:t>Household 3</a:t>
            </a:r>
            <a:r>
              <a:rPr lang="en-US"/>
              <a:t>: Adds exactly the required/desired amount of water (no excess) per use.</a:t>
            </a:r>
            <a:endParaRPr lang="tr-TR"/>
          </a:p>
          <a:p>
            <a:pPr marL="596900" lvl="1" indent="0" algn="l"/>
            <a:endParaRPr lang="en-US" i="1"/>
          </a:p>
          <a:p>
            <a:pPr marL="368300" indent="-228600">
              <a:buFont typeface="+mj-lt"/>
              <a:buAutoNum type="arabicPeriod"/>
            </a:pPr>
            <a:r>
              <a:rPr lang="en-US" b="1" i="1"/>
              <a:t>Scenario 1: </a:t>
            </a:r>
          </a:p>
          <a:p>
            <a:pPr marL="825500" lvl="1" indent="-228600" algn="l">
              <a:buFont typeface="Arial" panose="020B0604020202020204" pitchFamily="34" charset="0"/>
              <a:buChar char="•"/>
            </a:pPr>
            <a:r>
              <a:rPr lang="en-US"/>
              <a:t>Each household uses the kettle 10 times a day,</a:t>
            </a:r>
          </a:p>
          <a:p>
            <a:pPr marL="825500" lvl="1" indent="-228600" algn="l">
              <a:buFont typeface="Arial" panose="020B0604020202020204" pitchFamily="34" charset="0"/>
              <a:buChar char="•"/>
            </a:pPr>
            <a:r>
              <a:rPr lang="en-US"/>
              <a:t>For all households</a:t>
            </a:r>
            <a:r>
              <a:rPr lang="tr-TR"/>
              <a:t>, </a:t>
            </a:r>
            <a:r>
              <a:rPr lang="tr-TR" err="1"/>
              <a:t>out</a:t>
            </a:r>
            <a:r>
              <a:rPr lang="en-US"/>
              <a:t> of those 10 times, the</a:t>
            </a:r>
            <a:r>
              <a:rPr lang="tr-TR"/>
              <a:t> </a:t>
            </a:r>
            <a:r>
              <a:rPr lang="en-US"/>
              <a:t>actual</a:t>
            </a:r>
            <a:r>
              <a:rPr lang="tr-TR"/>
              <a:t> </a:t>
            </a:r>
            <a:r>
              <a:rPr lang="en-US"/>
              <a:t>needed amounts are as follows.</a:t>
            </a:r>
          </a:p>
          <a:p>
            <a:pPr marL="1282700" lvl="2" indent="-228600" algn="l">
              <a:buFont typeface="Arial" panose="020B0604020202020204" pitchFamily="34" charset="0"/>
              <a:buChar char="•"/>
            </a:pPr>
            <a:r>
              <a:rPr lang="en-US"/>
              <a:t>2 times: 3 cups</a:t>
            </a:r>
          </a:p>
          <a:p>
            <a:pPr marL="1282700" lvl="2" indent="-228600" algn="l">
              <a:buFont typeface="Arial" panose="020B0604020202020204" pitchFamily="34" charset="0"/>
              <a:buChar char="•"/>
            </a:pPr>
            <a:r>
              <a:rPr lang="en-US"/>
              <a:t>5 times: 4 cups</a:t>
            </a:r>
          </a:p>
          <a:p>
            <a:pPr marL="1282700" lvl="2" indent="-228600" algn="l">
              <a:buFont typeface="Arial" panose="020B0604020202020204" pitchFamily="34" charset="0"/>
              <a:buChar char="•"/>
            </a:pPr>
            <a:r>
              <a:rPr lang="en-US"/>
              <a:t>3 times: 5 cups </a:t>
            </a:r>
          </a:p>
          <a:p>
            <a:pPr marL="1282700" lvl="2" indent="-228600" algn="l">
              <a:buFont typeface="Arial" panose="020B0604020202020204" pitchFamily="34" charset="0"/>
              <a:buChar char="•"/>
            </a:pPr>
            <a:endParaRPr lang="en-US"/>
          </a:p>
          <a:p>
            <a:pPr marL="139700" indent="0"/>
            <a:r>
              <a:rPr lang="en-US" b="1"/>
              <a:t>1.1 </a:t>
            </a:r>
            <a:r>
              <a:rPr lang="en-US"/>
              <a:t>Calculate the monthly total energy consumptions of these households for the kettle</a:t>
            </a:r>
            <a:r>
              <a:rPr lang="tr-TR"/>
              <a:t> (in kWh)</a:t>
            </a:r>
            <a:r>
              <a:rPr lang="en-US"/>
              <a:t>, using the results calculated in “Task 2”, “part 3.1 Results” and fill the table below</a:t>
            </a:r>
          </a:p>
        </p:txBody>
      </p:sp>
      <p:graphicFrame>
        <p:nvGraphicFramePr>
          <p:cNvPr id="8" name="Google Shape;630;p38">
            <a:extLst>
              <a:ext uri="{FF2B5EF4-FFF2-40B4-BE49-F238E27FC236}">
                <a16:creationId xmlns:a16="http://schemas.microsoft.com/office/drawing/2014/main" id="{368DB4F9-1778-ABE0-9228-DF0AF5A19C81}"/>
              </a:ext>
            </a:extLst>
          </p:cNvPr>
          <p:cNvGraphicFramePr/>
          <p:nvPr>
            <p:extLst>
              <p:ext uri="{D42A27DB-BD31-4B8C-83A1-F6EECF244321}">
                <p14:modId xmlns:p14="http://schemas.microsoft.com/office/powerpoint/2010/main" val="337589100"/>
              </p:ext>
            </p:extLst>
          </p:nvPr>
        </p:nvGraphicFramePr>
        <p:xfrm>
          <a:off x="744305" y="7723690"/>
          <a:ext cx="5906521" cy="1268615"/>
        </p:xfrm>
        <a:graphic>
          <a:graphicData uri="http://schemas.openxmlformats.org/drawingml/2006/table">
            <a:tbl>
              <a:tblPr>
                <a:noFill/>
                <a:tableStyleId>{F0CFADBD-3245-443C-9B6D-9ACBA4CA32A5}</a:tableStyleId>
              </a:tblPr>
              <a:tblGrid>
                <a:gridCol w="1968149">
                  <a:extLst>
                    <a:ext uri="{9D8B030D-6E8A-4147-A177-3AD203B41FA5}">
                      <a16:colId xmlns:a16="http://schemas.microsoft.com/office/drawing/2014/main" val="20000"/>
                    </a:ext>
                  </a:extLst>
                </a:gridCol>
                <a:gridCol w="1969186">
                  <a:extLst>
                    <a:ext uri="{9D8B030D-6E8A-4147-A177-3AD203B41FA5}">
                      <a16:colId xmlns:a16="http://schemas.microsoft.com/office/drawing/2014/main" val="20001"/>
                    </a:ext>
                  </a:extLst>
                </a:gridCol>
                <a:gridCol w="1969186">
                  <a:extLst>
                    <a:ext uri="{9D8B030D-6E8A-4147-A177-3AD203B41FA5}">
                      <a16:colId xmlns:a16="http://schemas.microsoft.com/office/drawing/2014/main" val="20002"/>
                    </a:ext>
                  </a:extLst>
                </a:gridCol>
              </a:tblGrid>
              <a:tr h="492138">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1 (</a:t>
                      </a:r>
                      <a:r>
                        <a:rPr lang="de-DE" sz="1157" b="1" i="0" u="none" strike="noStrike" cap="none" err="1">
                          <a:solidFill>
                            <a:srgbClr val="000000"/>
                          </a:solidFill>
                          <a:effectLst/>
                          <a:latin typeface="Arial"/>
                          <a:ea typeface="Epilogue"/>
                          <a:cs typeface="Arial"/>
                          <a:sym typeface="Epilogue"/>
                        </a:rPr>
                        <a:t>monthly</a:t>
                      </a:r>
                      <a:r>
                        <a:rPr lang="de-DE" sz="1157" b="1" i="0" u="none" strike="noStrike" cap="none">
                          <a:solidFill>
                            <a:srgbClr val="000000"/>
                          </a:solidFill>
                          <a:effectLst/>
                          <a:latin typeface="Arial"/>
                          <a:ea typeface="Epilogue"/>
                          <a:cs typeface="Arial"/>
                          <a:sym typeface="Epilogue"/>
                        </a:rPr>
                        <a:t>)</a:t>
                      </a:r>
                      <a:endParaRPr sz="1157" b="1" i="0" u="none" strike="noStrike" cap="none">
                        <a:solidFill>
                          <a:srgbClr val="000000"/>
                        </a:solidFill>
                        <a:effectLst/>
                        <a:latin typeface="Arial"/>
                        <a:ea typeface="Epilogue"/>
                        <a:cs typeface="Arial"/>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2 (</a:t>
                      </a:r>
                      <a:r>
                        <a:rPr lang="de-DE" sz="1157" b="1" i="0" u="none" strike="noStrike" cap="none" err="1">
                          <a:solidFill>
                            <a:srgbClr val="000000"/>
                          </a:solidFill>
                          <a:effectLst/>
                          <a:latin typeface="Arial"/>
                          <a:ea typeface="Epilogue"/>
                          <a:cs typeface="Arial"/>
                          <a:sym typeface="Epilogue"/>
                        </a:rPr>
                        <a:t>monthly</a:t>
                      </a:r>
                      <a:r>
                        <a:rPr lang="de-DE" sz="1157" b="1" i="0" u="none" strike="noStrike" cap="none">
                          <a:solidFill>
                            <a:srgbClr val="000000"/>
                          </a:solidFill>
                          <a:effectLst/>
                          <a:latin typeface="Arial"/>
                          <a:ea typeface="Epilogue"/>
                          <a:cs typeface="Arial"/>
                          <a:sym typeface="Epilogue"/>
                        </a:rPr>
                        <a:t>)</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3 (</a:t>
                      </a:r>
                      <a:r>
                        <a:rPr lang="de-DE" sz="1157" b="1" i="0" u="none" strike="noStrike" cap="none" err="1">
                          <a:solidFill>
                            <a:srgbClr val="000000"/>
                          </a:solidFill>
                          <a:effectLst/>
                          <a:latin typeface="Arial"/>
                          <a:ea typeface="Epilogue"/>
                          <a:cs typeface="Arial"/>
                          <a:sym typeface="Epilogue"/>
                        </a:rPr>
                        <a:t>monthly</a:t>
                      </a:r>
                      <a:r>
                        <a:rPr lang="de-DE" sz="1157" b="1" i="0" u="none" strike="noStrike" cap="none">
                          <a:solidFill>
                            <a:srgbClr val="000000"/>
                          </a:solidFill>
                          <a:effectLst/>
                          <a:latin typeface="Arial"/>
                          <a:ea typeface="Epilogue"/>
                          <a:cs typeface="Arial"/>
                          <a:sym typeface="Epilogue"/>
                        </a:rPr>
                        <a:t>)</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776477">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
        <p:nvSpPr>
          <p:cNvPr id="9" name="Untertitel 3">
            <a:extLst>
              <a:ext uri="{FF2B5EF4-FFF2-40B4-BE49-F238E27FC236}">
                <a16:creationId xmlns:a16="http://schemas.microsoft.com/office/drawing/2014/main" id="{06A28542-C2DA-97AE-4C64-F7B2B1252D2C}"/>
              </a:ext>
            </a:extLst>
          </p:cNvPr>
          <p:cNvSpPr txBox="1">
            <a:spLocks/>
          </p:cNvSpPr>
          <p:nvPr/>
        </p:nvSpPr>
        <p:spPr>
          <a:xfrm>
            <a:off x="719137" y="8935387"/>
            <a:ext cx="5885337" cy="114169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b="1"/>
              <a:t>1.2 </a:t>
            </a:r>
            <a:r>
              <a:rPr lang="en-US"/>
              <a:t>Using the information below calculate the electric bill for each household in “</a:t>
            </a:r>
            <a:r>
              <a:rPr lang="en-US" err="1"/>
              <a:t>GHp</a:t>
            </a:r>
            <a:r>
              <a:rPr lang="en-US"/>
              <a:t>”.</a:t>
            </a:r>
          </a:p>
          <a:p>
            <a:pPr marL="139700" indent="0"/>
            <a:endParaRPr lang="en-US" i="1"/>
          </a:p>
          <a:p>
            <a:pPr marL="139700" indent="0"/>
            <a:r>
              <a:rPr lang="en-US" i="1"/>
              <a:t>Note: The currency represented by "</a:t>
            </a:r>
            <a:r>
              <a:rPr lang="en-US" i="1" err="1"/>
              <a:t>GHp</a:t>
            </a:r>
            <a:r>
              <a:rPr lang="en-US" i="1"/>
              <a:t>" is the Ghanaian pesewa. It is the subunit of the Ghanaian cedi, where 100 pesewas make up one cedi. </a:t>
            </a:r>
          </a:p>
          <a:p>
            <a:pPr marL="139700" indent="0"/>
            <a:endParaRPr lang="en-US" i="1"/>
          </a:p>
        </p:txBody>
      </p:sp>
      <p:graphicFrame>
        <p:nvGraphicFramePr>
          <p:cNvPr id="2" name="Google Shape;630;p38">
            <a:extLst>
              <a:ext uri="{FF2B5EF4-FFF2-40B4-BE49-F238E27FC236}">
                <a16:creationId xmlns:a16="http://schemas.microsoft.com/office/drawing/2014/main" id="{8F4503EF-9660-1CE3-FB10-8BEF7E56C734}"/>
              </a:ext>
            </a:extLst>
          </p:cNvPr>
          <p:cNvGraphicFramePr/>
          <p:nvPr>
            <p:extLst>
              <p:ext uri="{D42A27DB-BD31-4B8C-83A1-F6EECF244321}">
                <p14:modId xmlns:p14="http://schemas.microsoft.com/office/powerpoint/2010/main" val="304029185"/>
              </p:ext>
            </p:extLst>
          </p:nvPr>
        </p:nvGraphicFramePr>
        <p:xfrm>
          <a:off x="729616" y="1281993"/>
          <a:ext cx="5921208" cy="1088345"/>
        </p:xfrm>
        <a:graphic>
          <a:graphicData uri="http://schemas.openxmlformats.org/drawingml/2006/table">
            <a:tbl>
              <a:tblPr>
                <a:noFill/>
                <a:tableStyleId>{F0CFADBD-3245-443C-9B6D-9ACBA4CA32A5}</a:tableStyleId>
              </a:tblPr>
              <a:tblGrid>
                <a:gridCol w="986868">
                  <a:extLst>
                    <a:ext uri="{9D8B030D-6E8A-4147-A177-3AD203B41FA5}">
                      <a16:colId xmlns:a16="http://schemas.microsoft.com/office/drawing/2014/main" val="20000"/>
                    </a:ext>
                  </a:extLst>
                </a:gridCol>
                <a:gridCol w="986868">
                  <a:extLst>
                    <a:ext uri="{9D8B030D-6E8A-4147-A177-3AD203B41FA5}">
                      <a16:colId xmlns:a16="http://schemas.microsoft.com/office/drawing/2014/main" val="20001"/>
                    </a:ext>
                  </a:extLst>
                </a:gridCol>
                <a:gridCol w="986868">
                  <a:extLst>
                    <a:ext uri="{9D8B030D-6E8A-4147-A177-3AD203B41FA5}">
                      <a16:colId xmlns:a16="http://schemas.microsoft.com/office/drawing/2014/main" val="20002"/>
                    </a:ext>
                  </a:extLst>
                </a:gridCol>
                <a:gridCol w="986868">
                  <a:extLst>
                    <a:ext uri="{9D8B030D-6E8A-4147-A177-3AD203B41FA5}">
                      <a16:colId xmlns:a16="http://schemas.microsoft.com/office/drawing/2014/main" val="2472991007"/>
                    </a:ext>
                  </a:extLst>
                </a:gridCol>
                <a:gridCol w="986868">
                  <a:extLst>
                    <a:ext uri="{9D8B030D-6E8A-4147-A177-3AD203B41FA5}">
                      <a16:colId xmlns:a16="http://schemas.microsoft.com/office/drawing/2014/main" val="351844238"/>
                    </a:ext>
                  </a:extLst>
                </a:gridCol>
                <a:gridCol w="986868">
                  <a:extLst>
                    <a:ext uri="{9D8B030D-6E8A-4147-A177-3AD203B41FA5}">
                      <a16:colId xmlns:a16="http://schemas.microsoft.com/office/drawing/2014/main" val="4156805010"/>
                    </a:ext>
                  </a:extLst>
                </a:gridCol>
              </a:tblGrid>
              <a:tr h="492138">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2 Cups</a:t>
                      </a:r>
                      <a:endParaRPr sz="1157" b="1" i="0" u="none" strike="noStrike" cap="none">
                        <a:solidFill>
                          <a:srgbClr val="000000"/>
                        </a:solidFill>
                        <a:effectLst/>
                        <a:latin typeface="Arial"/>
                        <a:ea typeface="Epilogue"/>
                        <a:cs typeface="Arial"/>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tr-TR" sz="1157" b="1" i="0" u="none" strike="noStrike" cap="none">
                          <a:solidFill>
                            <a:srgbClr val="000000"/>
                          </a:solidFill>
                          <a:effectLst/>
                          <a:latin typeface="Arial"/>
                          <a:ea typeface="Epilogue"/>
                          <a:cs typeface="Arial"/>
                          <a:sym typeface="Epilogue"/>
                        </a:rPr>
                        <a:t>3</a:t>
                      </a:r>
                      <a:r>
                        <a:rPr lang="de-DE" sz="1157" b="1" i="0" u="none" strike="noStrike" cap="none">
                          <a:solidFill>
                            <a:srgbClr val="000000"/>
                          </a:solidFill>
                          <a:effectLst/>
                          <a:latin typeface="Arial"/>
                          <a:ea typeface="Epilogue"/>
                          <a:cs typeface="Arial"/>
                          <a:sym typeface="Epilogue"/>
                        </a:rPr>
                        <a:t> Cups</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tr-TR" sz="1157" b="1" i="0" u="none" strike="noStrike" cap="none">
                          <a:solidFill>
                            <a:srgbClr val="000000"/>
                          </a:solidFill>
                          <a:effectLst/>
                          <a:latin typeface="Arial"/>
                          <a:ea typeface="Epilogue"/>
                          <a:cs typeface="Arial"/>
                          <a:sym typeface="Epilogue"/>
                        </a:rPr>
                        <a:t>4</a:t>
                      </a:r>
                      <a:r>
                        <a:rPr lang="de-DE" sz="1157" b="1" i="0" u="none" strike="noStrike" cap="none">
                          <a:solidFill>
                            <a:srgbClr val="000000"/>
                          </a:solidFill>
                          <a:effectLst/>
                          <a:latin typeface="Arial"/>
                          <a:ea typeface="Epilogue"/>
                          <a:cs typeface="Arial"/>
                          <a:sym typeface="Epilogue"/>
                        </a:rPr>
                        <a:t> Cups</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tr-TR" sz="1157" b="1" i="0" u="none" strike="noStrike" cap="none">
                          <a:solidFill>
                            <a:srgbClr val="000000"/>
                          </a:solidFill>
                          <a:effectLst/>
                          <a:latin typeface="Arial"/>
                          <a:ea typeface="Epilogue"/>
                          <a:cs typeface="Arial"/>
                          <a:sym typeface="Epilogue"/>
                        </a:rPr>
                        <a:t>5</a:t>
                      </a:r>
                      <a:r>
                        <a:rPr lang="de-DE" sz="1157" b="1" i="0" u="none" strike="noStrike" cap="none">
                          <a:solidFill>
                            <a:srgbClr val="000000"/>
                          </a:solidFill>
                          <a:effectLst/>
                          <a:latin typeface="Arial"/>
                          <a:ea typeface="Epilogue"/>
                          <a:cs typeface="Arial"/>
                          <a:sym typeface="Epilogue"/>
                        </a:rPr>
                        <a:t> Cups</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tr-TR" sz="1157" b="1" i="0" u="none" strike="noStrike" cap="none">
                          <a:solidFill>
                            <a:srgbClr val="000000"/>
                          </a:solidFill>
                          <a:effectLst/>
                          <a:latin typeface="Arial"/>
                          <a:ea typeface="Epilogue"/>
                          <a:cs typeface="Arial"/>
                          <a:sym typeface="Epilogue"/>
                        </a:rPr>
                        <a:t>6</a:t>
                      </a:r>
                      <a:r>
                        <a:rPr lang="de-DE" sz="1157" b="1" i="0" u="none" strike="noStrike" cap="none">
                          <a:solidFill>
                            <a:srgbClr val="000000"/>
                          </a:solidFill>
                          <a:effectLst/>
                          <a:latin typeface="Arial"/>
                          <a:ea typeface="Epilogue"/>
                          <a:cs typeface="Arial"/>
                          <a:sym typeface="Epilogue"/>
                        </a:rPr>
                        <a:t> Cups</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tr-TR" sz="1157" b="1" i="0" u="none" strike="noStrike" cap="none">
                          <a:solidFill>
                            <a:srgbClr val="000000"/>
                          </a:solidFill>
                          <a:effectLst/>
                          <a:latin typeface="Arial"/>
                          <a:ea typeface="Epilogue"/>
                          <a:cs typeface="Arial"/>
                          <a:sym typeface="Epilogue"/>
                        </a:rPr>
                        <a:t>7</a:t>
                      </a:r>
                      <a:r>
                        <a:rPr lang="de-DE" sz="1157" b="1" i="0" u="none" strike="noStrike" cap="none">
                          <a:solidFill>
                            <a:srgbClr val="000000"/>
                          </a:solidFill>
                          <a:effectLst/>
                          <a:latin typeface="Arial"/>
                          <a:ea typeface="Epilogue"/>
                          <a:cs typeface="Arial"/>
                          <a:sym typeface="Epilogue"/>
                        </a:rPr>
                        <a:t> Cups</a:t>
                      </a: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0"/>
                  </a:ext>
                </a:extLst>
              </a:tr>
              <a:tr h="596207">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4649276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BC97BE03-3C09-5512-CA6A-D8A28F363413}"/>
              </a:ext>
            </a:extLst>
          </p:cNvPr>
          <p:cNvSpPr>
            <a:spLocks noGrp="1"/>
          </p:cNvSpPr>
          <p:nvPr>
            <p:ph type="sldNum" sz="quarter" idx="4"/>
          </p:nvPr>
        </p:nvSpPr>
        <p:spPr/>
        <p:txBody>
          <a:bodyPr/>
          <a:lstStyle/>
          <a:p>
            <a:fld id="{DF7F771E-9578-4C04-B869-01AF4C35C90C}" type="slidenum">
              <a:rPr lang="de-DE" smtClean="0"/>
              <a:t>71</a:t>
            </a:fld>
            <a:endParaRPr lang="de-DE"/>
          </a:p>
        </p:txBody>
      </p:sp>
      <p:sp>
        <p:nvSpPr>
          <p:cNvPr id="6" name="Untertitel 3">
            <a:extLst>
              <a:ext uri="{FF2B5EF4-FFF2-40B4-BE49-F238E27FC236}">
                <a16:creationId xmlns:a16="http://schemas.microsoft.com/office/drawing/2014/main" id="{A185C607-14F2-8629-E3DF-EBE4CE0091A8}"/>
              </a:ext>
            </a:extLst>
          </p:cNvPr>
          <p:cNvSpPr txBox="1">
            <a:spLocks/>
          </p:cNvSpPr>
          <p:nvPr/>
        </p:nvSpPr>
        <p:spPr>
          <a:xfrm>
            <a:off x="719136" y="1289588"/>
            <a:ext cx="5885337" cy="251879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b="1"/>
              <a:t>1.2 </a:t>
            </a:r>
            <a:r>
              <a:rPr lang="en-US"/>
              <a:t>Using the information below calculate the electric bill for each household in “</a:t>
            </a:r>
            <a:r>
              <a:rPr lang="en-US" err="1"/>
              <a:t>GHp</a:t>
            </a:r>
            <a:r>
              <a:rPr lang="en-US"/>
              <a:t>”.</a:t>
            </a:r>
            <a:br>
              <a:rPr lang="tr-TR"/>
            </a:br>
            <a:endParaRPr lang="en-US"/>
          </a:p>
          <a:p>
            <a:pPr marL="139700" indent="0"/>
            <a:r>
              <a:rPr lang="en-US" i="1"/>
              <a:t>Effective since 1st of April 2024, the electricity prices in Ghana for residential use are as follows, 0-30 kWh (Lifeline, Exclusive) at 63.4792 </a:t>
            </a:r>
            <a:r>
              <a:rPr lang="en-US" i="1" err="1"/>
              <a:t>GHp</a:t>
            </a:r>
            <a:r>
              <a:rPr lang="en-US" i="1"/>
              <a:t>/kWh, 31-300 kWh at 140.5722 </a:t>
            </a:r>
            <a:r>
              <a:rPr lang="en-US" i="1" err="1"/>
              <a:t>GHp</a:t>
            </a:r>
            <a:r>
              <a:rPr lang="en-US" i="1"/>
              <a:t>/kWh, and above 301 kWh at 185.7432 </a:t>
            </a:r>
            <a:r>
              <a:rPr lang="en-US" i="1" err="1"/>
              <a:t>GHp</a:t>
            </a:r>
            <a:r>
              <a:rPr lang="en-US" i="1"/>
              <a:t>/kWh. This means if a household’s monthly consumption exceeds the bracket 301 kWh, they will be billed for the total consumption amount at 185.7432 </a:t>
            </a:r>
            <a:r>
              <a:rPr lang="en-US" i="1" err="1"/>
              <a:t>GHp</a:t>
            </a:r>
            <a:r>
              <a:rPr lang="en-US" i="1"/>
              <a:t>/kWh.</a:t>
            </a:r>
            <a:r>
              <a:rPr lang="tr-TR" i="1"/>
              <a:t> </a:t>
            </a:r>
            <a:r>
              <a:rPr lang="en-US" i="1"/>
              <a:t>Note: The currency represented by "</a:t>
            </a:r>
            <a:r>
              <a:rPr lang="en-US" i="1" err="1"/>
              <a:t>GHp</a:t>
            </a:r>
            <a:r>
              <a:rPr lang="en-US" i="1"/>
              <a:t>" is the Ghanaian pesewa. It is the subunit of the Ghanaian cedi, where 100 pesewas make up one cedi. </a:t>
            </a:r>
            <a:endParaRPr lang="tr-TR" i="1"/>
          </a:p>
          <a:p>
            <a:pPr marL="139700" indent="0"/>
            <a:endParaRPr lang="tr-TR" i="1"/>
          </a:p>
          <a:p>
            <a:pPr marL="139700" indent="0"/>
            <a:r>
              <a:rPr lang="en-US" i="1"/>
              <a:t>For simplicity, students can assume the total energy used by each household, excluding the kettle's contribution, is 260 kWh monthly.</a:t>
            </a:r>
          </a:p>
        </p:txBody>
      </p:sp>
      <p:graphicFrame>
        <p:nvGraphicFramePr>
          <p:cNvPr id="7" name="Google Shape;630;p38">
            <a:extLst>
              <a:ext uri="{FF2B5EF4-FFF2-40B4-BE49-F238E27FC236}">
                <a16:creationId xmlns:a16="http://schemas.microsoft.com/office/drawing/2014/main" id="{94E923D8-968C-A068-B39E-A46DC7C4CFB7}"/>
              </a:ext>
            </a:extLst>
          </p:cNvPr>
          <p:cNvGraphicFramePr/>
          <p:nvPr>
            <p:extLst>
              <p:ext uri="{D42A27DB-BD31-4B8C-83A1-F6EECF244321}">
                <p14:modId xmlns:p14="http://schemas.microsoft.com/office/powerpoint/2010/main" val="1748916179"/>
              </p:ext>
            </p:extLst>
          </p:nvPr>
        </p:nvGraphicFramePr>
        <p:xfrm>
          <a:off x="719136" y="3871942"/>
          <a:ext cx="5931690" cy="849512"/>
        </p:xfrm>
        <a:graphic>
          <a:graphicData uri="http://schemas.openxmlformats.org/drawingml/2006/table">
            <a:tbl>
              <a:tblPr>
                <a:noFill/>
                <a:tableStyleId>{F0CFADBD-3245-443C-9B6D-9ACBA4CA32A5}</a:tableStyleId>
              </a:tblPr>
              <a:tblGrid>
                <a:gridCol w="1977230">
                  <a:extLst>
                    <a:ext uri="{9D8B030D-6E8A-4147-A177-3AD203B41FA5}">
                      <a16:colId xmlns:a16="http://schemas.microsoft.com/office/drawing/2014/main" val="20000"/>
                    </a:ext>
                  </a:extLst>
                </a:gridCol>
                <a:gridCol w="1977230">
                  <a:extLst>
                    <a:ext uri="{9D8B030D-6E8A-4147-A177-3AD203B41FA5}">
                      <a16:colId xmlns:a16="http://schemas.microsoft.com/office/drawing/2014/main" val="20001"/>
                    </a:ext>
                  </a:extLst>
                </a:gridCol>
                <a:gridCol w="1977230">
                  <a:extLst>
                    <a:ext uri="{9D8B030D-6E8A-4147-A177-3AD203B41FA5}">
                      <a16:colId xmlns:a16="http://schemas.microsoft.com/office/drawing/2014/main" val="20002"/>
                    </a:ext>
                  </a:extLst>
                </a:gridCol>
              </a:tblGrid>
              <a:tr h="329554">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1 (</a:t>
                      </a:r>
                      <a:r>
                        <a:rPr lang="en-US" sz="1157" b="1" i="0" u="none" strike="noStrike" cap="none">
                          <a:solidFill>
                            <a:srgbClr val="000000"/>
                          </a:solidFill>
                          <a:effectLst/>
                          <a:latin typeface="Arial"/>
                          <a:ea typeface="Arial"/>
                          <a:cs typeface="Arial"/>
                          <a:sym typeface="Arial"/>
                        </a:rPr>
                        <a:t>Electric Bill</a:t>
                      </a:r>
                      <a:r>
                        <a:rPr lang="de-DE" sz="1157" b="1" i="0" u="none" strike="noStrike" cap="none">
                          <a:solidFill>
                            <a:srgbClr val="000000"/>
                          </a:solidFill>
                          <a:effectLst/>
                          <a:latin typeface="Arial"/>
                          <a:ea typeface="Epilogue"/>
                          <a:cs typeface="Arial"/>
                          <a:sym typeface="Epilogue"/>
                        </a:rPr>
                        <a:t>)</a:t>
                      </a:r>
                      <a:endParaRPr sz="1157" b="1" i="0" u="none" strike="noStrike" cap="none">
                        <a:solidFill>
                          <a:srgbClr val="000000"/>
                        </a:solidFill>
                        <a:effectLst/>
                        <a:latin typeface="Arial"/>
                        <a:ea typeface="Epilogue"/>
                        <a:cs typeface="Arial"/>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2 (</a:t>
                      </a:r>
                      <a:r>
                        <a:rPr lang="en-US" sz="1157" b="1" i="0" u="none" strike="noStrike" cap="none">
                          <a:solidFill>
                            <a:srgbClr val="000000"/>
                          </a:solidFill>
                          <a:effectLst/>
                          <a:latin typeface="Arial"/>
                          <a:ea typeface="Arial"/>
                          <a:cs typeface="Arial"/>
                          <a:sym typeface="Arial"/>
                        </a:rPr>
                        <a:t>Electric Bill</a:t>
                      </a:r>
                      <a:r>
                        <a:rPr lang="de-DE" sz="1157" b="1" i="0" u="none" strike="noStrike" cap="none">
                          <a:solidFill>
                            <a:srgbClr val="000000"/>
                          </a:solidFill>
                          <a:effectLst/>
                          <a:latin typeface="Arial"/>
                          <a:ea typeface="Epilogue"/>
                          <a:cs typeface="Arial"/>
                          <a:sym typeface="Epilogue"/>
                        </a:rPr>
                        <a:t>)</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3 (</a:t>
                      </a:r>
                      <a:r>
                        <a:rPr lang="en-US" sz="1157" b="1" i="0" u="none" strike="noStrike" cap="none">
                          <a:solidFill>
                            <a:srgbClr val="000000"/>
                          </a:solidFill>
                          <a:effectLst/>
                          <a:latin typeface="Arial"/>
                          <a:ea typeface="Arial"/>
                          <a:cs typeface="Arial"/>
                          <a:sym typeface="Arial"/>
                        </a:rPr>
                        <a:t>Electric Bill</a:t>
                      </a:r>
                      <a:r>
                        <a:rPr lang="de-DE" sz="1157" b="1" i="0" u="none" strike="noStrike" cap="none">
                          <a:solidFill>
                            <a:srgbClr val="000000"/>
                          </a:solidFill>
                          <a:effectLst/>
                          <a:latin typeface="Arial"/>
                          <a:ea typeface="Epilogue"/>
                          <a:cs typeface="Arial"/>
                          <a:sym typeface="Epilogue"/>
                        </a:rPr>
                        <a:t>)</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519958">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
        <p:nvSpPr>
          <p:cNvPr id="8" name="Untertitel 3">
            <a:extLst>
              <a:ext uri="{FF2B5EF4-FFF2-40B4-BE49-F238E27FC236}">
                <a16:creationId xmlns:a16="http://schemas.microsoft.com/office/drawing/2014/main" id="{DCE43B3B-D913-93B7-72BB-E48EA2B8558D}"/>
              </a:ext>
            </a:extLst>
          </p:cNvPr>
          <p:cNvSpPr txBox="1">
            <a:spLocks/>
          </p:cNvSpPr>
          <p:nvPr/>
        </p:nvSpPr>
        <p:spPr>
          <a:xfrm>
            <a:off x="744304" y="4736861"/>
            <a:ext cx="5885337" cy="25786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startAt="2"/>
            </a:pPr>
            <a:r>
              <a:rPr lang="en-US" b="1" i="1"/>
              <a:t>Scenario 2: </a:t>
            </a:r>
          </a:p>
          <a:p>
            <a:pPr marL="825500" lvl="1" indent="-228600" algn="l">
              <a:buFont typeface="Arial" panose="020B0604020202020204" pitchFamily="34" charset="0"/>
              <a:buChar char="•"/>
            </a:pPr>
            <a:r>
              <a:rPr lang="en-US"/>
              <a:t>Each group uses the Kettle as follows</a:t>
            </a:r>
          </a:p>
          <a:p>
            <a:pPr marL="1282700" lvl="2" indent="-228600" algn="l">
              <a:buFont typeface="Arial" panose="020B0604020202020204" pitchFamily="34" charset="0"/>
              <a:buChar char="•"/>
            </a:pPr>
            <a:r>
              <a:rPr lang="en-US"/>
              <a:t>Household 1: Uses the kettle 9 times daily.</a:t>
            </a:r>
          </a:p>
          <a:p>
            <a:pPr marL="1282700" lvl="2" indent="-228600" algn="l">
              <a:buFont typeface="Arial" panose="020B0604020202020204" pitchFamily="34" charset="0"/>
              <a:buChar char="•"/>
            </a:pPr>
            <a:r>
              <a:rPr lang="en-US"/>
              <a:t>Household 2: Uses the kettle 10 times daily.</a:t>
            </a:r>
          </a:p>
          <a:p>
            <a:pPr marL="1282700" lvl="2" indent="-228600" algn="l">
              <a:buFont typeface="Arial" panose="020B0604020202020204" pitchFamily="34" charset="0"/>
              <a:buChar char="•"/>
            </a:pPr>
            <a:r>
              <a:rPr lang="en-US"/>
              <a:t>Household 3: Uses the kettle 12 times daily.</a:t>
            </a:r>
          </a:p>
          <a:p>
            <a:pPr marL="825500" lvl="1" indent="-228600" algn="l">
              <a:buFont typeface="Arial" panose="020B0604020202020204" pitchFamily="34" charset="0"/>
              <a:buChar char="•"/>
            </a:pPr>
            <a:r>
              <a:rPr lang="en-US"/>
              <a:t>The actual needed amounts are as follows.</a:t>
            </a:r>
          </a:p>
          <a:p>
            <a:pPr marL="1282700" lvl="2" indent="-228600" algn="l">
              <a:buFont typeface="Arial" panose="020B0604020202020204" pitchFamily="34" charset="0"/>
              <a:buChar char="•"/>
            </a:pPr>
            <a:r>
              <a:rPr lang="en-US"/>
              <a:t>5 times: 5 Cups</a:t>
            </a:r>
          </a:p>
          <a:p>
            <a:pPr marL="1282700" lvl="2" indent="-228600" algn="l">
              <a:buFont typeface="Arial" panose="020B0604020202020204" pitchFamily="34" charset="0"/>
              <a:buChar char="•"/>
            </a:pPr>
            <a:r>
              <a:rPr lang="en-US"/>
              <a:t>Rest of them: 4 Cups</a:t>
            </a:r>
          </a:p>
          <a:p>
            <a:pPr marL="1282700" lvl="2" indent="-228600" algn="l">
              <a:buFont typeface="Arial" panose="020B0604020202020204" pitchFamily="34" charset="0"/>
              <a:buChar char="•"/>
            </a:pPr>
            <a:endParaRPr lang="en-US"/>
          </a:p>
          <a:p>
            <a:pPr marL="139700" indent="0"/>
            <a:r>
              <a:rPr lang="en-US" b="1"/>
              <a:t>2.1 </a:t>
            </a:r>
            <a:r>
              <a:rPr lang="en-US"/>
              <a:t>Calculate the monthly total energy consumptions of these households for the kettle, using the results calculated in “Task 2”, “part 3.1 Results” and fill the table below.</a:t>
            </a:r>
          </a:p>
        </p:txBody>
      </p:sp>
      <p:graphicFrame>
        <p:nvGraphicFramePr>
          <p:cNvPr id="9" name="Google Shape;630;p38">
            <a:extLst>
              <a:ext uri="{FF2B5EF4-FFF2-40B4-BE49-F238E27FC236}">
                <a16:creationId xmlns:a16="http://schemas.microsoft.com/office/drawing/2014/main" id="{ACF7E201-ACF4-47C5-10A5-78F1754AFFEB}"/>
              </a:ext>
            </a:extLst>
          </p:cNvPr>
          <p:cNvGraphicFramePr/>
          <p:nvPr>
            <p:extLst>
              <p:ext uri="{D42A27DB-BD31-4B8C-83A1-F6EECF244321}">
                <p14:modId xmlns:p14="http://schemas.microsoft.com/office/powerpoint/2010/main" val="3941257511"/>
              </p:ext>
            </p:extLst>
          </p:nvPr>
        </p:nvGraphicFramePr>
        <p:xfrm>
          <a:off x="765488" y="7211956"/>
          <a:ext cx="5885337" cy="849512"/>
        </p:xfrm>
        <a:graphic>
          <a:graphicData uri="http://schemas.openxmlformats.org/drawingml/2006/table">
            <a:tbl>
              <a:tblPr>
                <a:noFill/>
                <a:tableStyleId>{F0CFADBD-3245-443C-9B6D-9ACBA4CA32A5}</a:tableStyleId>
              </a:tblPr>
              <a:tblGrid>
                <a:gridCol w="1961779">
                  <a:extLst>
                    <a:ext uri="{9D8B030D-6E8A-4147-A177-3AD203B41FA5}">
                      <a16:colId xmlns:a16="http://schemas.microsoft.com/office/drawing/2014/main" val="20000"/>
                    </a:ext>
                  </a:extLst>
                </a:gridCol>
                <a:gridCol w="1961779">
                  <a:extLst>
                    <a:ext uri="{9D8B030D-6E8A-4147-A177-3AD203B41FA5}">
                      <a16:colId xmlns:a16="http://schemas.microsoft.com/office/drawing/2014/main" val="20001"/>
                    </a:ext>
                  </a:extLst>
                </a:gridCol>
                <a:gridCol w="1961779">
                  <a:extLst>
                    <a:ext uri="{9D8B030D-6E8A-4147-A177-3AD203B41FA5}">
                      <a16:colId xmlns:a16="http://schemas.microsoft.com/office/drawing/2014/main" val="20002"/>
                    </a:ext>
                  </a:extLst>
                </a:gridCol>
              </a:tblGrid>
              <a:tr h="329554">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1 (</a:t>
                      </a:r>
                      <a:r>
                        <a:rPr lang="en-US" sz="1157" b="1" i="0" u="none" strike="noStrike" cap="none">
                          <a:solidFill>
                            <a:srgbClr val="000000"/>
                          </a:solidFill>
                          <a:effectLst/>
                          <a:latin typeface="Arial"/>
                          <a:ea typeface="Epilogue"/>
                          <a:cs typeface="Arial"/>
                          <a:sym typeface="Arial"/>
                        </a:rPr>
                        <a:t>Monthly</a:t>
                      </a:r>
                      <a:r>
                        <a:rPr lang="de-DE" sz="1157" b="1" i="0" u="none" strike="noStrike" cap="none">
                          <a:solidFill>
                            <a:srgbClr val="000000"/>
                          </a:solidFill>
                          <a:effectLst/>
                          <a:latin typeface="Arial"/>
                          <a:ea typeface="Epilogue"/>
                          <a:cs typeface="Arial"/>
                          <a:sym typeface="Epilogue"/>
                        </a:rPr>
                        <a:t>)</a:t>
                      </a:r>
                      <a:endParaRPr sz="1157" b="1" i="0" u="none" strike="noStrike" cap="none">
                        <a:solidFill>
                          <a:srgbClr val="000000"/>
                        </a:solidFill>
                        <a:effectLst/>
                        <a:latin typeface="Arial"/>
                        <a:ea typeface="Epilogue"/>
                        <a:cs typeface="Arial"/>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2 (</a:t>
                      </a:r>
                      <a:r>
                        <a:rPr lang="en-US" sz="1157" b="1" i="0" u="none" strike="noStrike" cap="none">
                          <a:solidFill>
                            <a:srgbClr val="000000"/>
                          </a:solidFill>
                          <a:effectLst/>
                          <a:latin typeface="Arial"/>
                          <a:ea typeface="Epilogue"/>
                          <a:cs typeface="Arial"/>
                          <a:sym typeface="Arial"/>
                        </a:rPr>
                        <a:t>Monthly</a:t>
                      </a:r>
                      <a:r>
                        <a:rPr lang="de-DE" sz="1157" b="1" i="0" u="none" strike="noStrike" cap="none">
                          <a:solidFill>
                            <a:srgbClr val="000000"/>
                          </a:solidFill>
                          <a:effectLst/>
                          <a:latin typeface="Arial"/>
                          <a:ea typeface="Epilogue"/>
                          <a:cs typeface="Arial"/>
                          <a:sym typeface="Epilogue"/>
                        </a:rPr>
                        <a:t>)</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3 (</a:t>
                      </a:r>
                      <a:r>
                        <a:rPr lang="en-US" sz="1157" b="1" i="0" u="none" strike="noStrike" cap="none">
                          <a:solidFill>
                            <a:srgbClr val="000000"/>
                          </a:solidFill>
                          <a:effectLst/>
                          <a:latin typeface="Arial"/>
                          <a:ea typeface="Epilogue"/>
                          <a:cs typeface="Arial"/>
                          <a:sym typeface="Arial"/>
                        </a:rPr>
                        <a:t>Monthly</a:t>
                      </a:r>
                      <a:r>
                        <a:rPr lang="de-DE" sz="1157" b="1" i="0" u="none" strike="noStrike" cap="none">
                          <a:solidFill>
                            <a:srgbClr val="000000"/>
                          </a:solidFill>
                          <a:effectLst/>
                          <a:latin typeface="Arial"/>
                          <a:ea typeface="Epilogue"/>
                          <a:cs typeface="Arial"/>
                          <a:sym typeface="Epilogue"/>
                        </a:rPr>
                        <a:t>)</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519958">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
        <p:nvSpPr>
          <p:cNvPr id="10" name="Untertitel 3">
            <a:extLst>
              <a:ext uri="{FF2B5EF4-FFF2-40B4-BE49-F238E27FC236}">
                <a16:creationId xmlns:a16="http://schemas.microsoft.com/office/drawing/2014/main" id="{10653831-7A29-EC0B-D332-5789C4E9EF42}"/>
              </a:ext>
            </a:extLst>
          </p:cNvPr>
          <p:cNvSpPr txBox="1">
            <a:spLocks/>
          </p:cNvSpPr>
          <p:nvPr/>
        </p:nvSpPr>
        <p:spPr>
          <a:xfrm>
            <a:off x="744304" y="8166305"/>
            <a:ext cx="5885337" cy="63967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b="1"/>
              <a:t>2.2 </a:t>
            </a:r>
            <a:r>
              <a:rPr lang="en-US"/>
              <a:t>Calculate the monthly total energy consumptions of these households for the kettle, using the results calculated in “Task 2”, “part 3.1 Results” and fill the table below.</a:t>
            </a:r>
          </a:p>
        </p:txBody>
      </p:sp>
      <p:graphicFrame>
        <p:nvGraphicFramePr>
          <p:cNvPr id="3" name="Google Shape;630;p38">
            <a:extLst>
              <a:ext uri="{FF2B5EF4-FFF2-40B4-BE49-F238E27FC236}">
                <a16:creationId xmlns:a16="http://schemas.microsoft.com/office/drawing/2014/main" id="{0803B0BD-4895-7304-234B-0D7FC2FC1CEA}"/>
              </a:ext>
            </a:extLst>
          </p:cNvPr>
          <p:cNvGraphicFramePr/>
          <p:nvPr>
            <p:extLst>
              <p:ext uri="{D42A27DB-BD31-4B8C-83A1-F6EECF244321}">
                <p14:modId xmlns:p14="http://schemas.microsoft.com/office/powerpoint/2010/main" val="1370332406"/>
              </p:ext>
            </p:extLst>
          </p:nvPr>
        </p:nvGraphicFramePr>
        <p:xfrm>
          <a:off x="744304" y="8822983"/>
          <a:ext cx="5931690" cy="849512"/>
        </p:xfrm>
        <a:graphic>
          <a:graphicData uri="http://schemas.openxmlformats.org/drawingml/2006/table">
            <a:tbl>
              <a:tblPr>
                <a:noFill/>
                <a:tableStyleId>{F0CFADBD-3245-443C-9B6D-9ACBA4CA32A5}</a:tableStyleId>
              </a:tblPr>
              <a:tblGrid>
                <a:gridCol w="1977230">
                  <a:extLst>
                    <a:ext uri="{9D8B030D-6E8A-4147-A177-3AD203B41FA5}">
                      <a16:colId xmlns:a16="http://schemas.microsoft.com/office/drawing/2014/main" val="20000"/>
                    </a:ext>
                  </a:extLst>
                </a:gridCol>
                <a:gridCol w="1977230">
                  <a:extLst>
                    <a:ext uri="{9D8B030D-6E8A-4147-A177-3AD203B41FA5}">
                      <a16:colId xmlns:a16="http://schemas.microsoft.com/office/drawing/2014/main" val="20001"/>
                    </a:ext>
                  </a:extLst>
                </a:gridCol>
                <a:gridCol w="1977230">
                  <a:extLst>
                    <a:ext uri="{9D8B030D-6E8A-4147-A177-3AD203B41FA5}">
                      <a16:colId xmlns:a16="http://schemas.microsoft.com/office/drawing/2014/main" val="20002"/>
                    </a:ext>
                  </a:extLst>
                </a:gridCol>
              </a:tblGrid>
              <a:tr h="329554">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1 (</a:t>
                      </a:r>
                      <a:r>
                        <a:rPr lang="en-US" sz="1157" b="1" i="0" u="none" strike="noStrike" cap="none">
                          <a:solidFill>
                            <a:srgbClr val="000000"/>
                          </a:solidFill>
                          <a:effectLst/>
                          <a:latin typeface="Arial"/>
                          <a:ea typeface="Arial"/>
                          <a:cs typeface="Arial"/>
                          <a:sym typeface="Arial"/>
                        </a:rPr>
                        <a:t>Electric Bill</a:t>
                      </a:r>
                      <a:r>
                        <a:rPr lang="de-DE" sz="1157" b="1" i="0" u="none" strike="noStrike" cap="none">
                          <a:solidFill>
                            <a:srgbClr val="000000"/>
                          </a:solidFill>
                          <a:effectLst/>
                          <a:latin typeface="Arial"/>
                          <a:ea typeface="Epilogue"/>
                          <a:cs typeface="Arial"/>
                          <a:sym typeface="Epilogue"/>
                        </a:rPr>
                        <a:t>)</a:t>
                      </a:r>
                      <a:endParaRPr sz="1157" b="1" i="0" u="none" strike="noStrike" cap="none">
                        <a:solidFill>
                          <a:srgbClr val="000000"/>
                        </a:solidFill>
                        <a:effectLst/>
                        <a:latin typeface="Arial"/>
                        <a:ea typeface="Epilogue"/>
                        <a:cs typeface="Arial"/>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2 (</a:t>
                      </a:r>
                      <a:r>
                        <a:rPr lang="en-US" sz="1157" b="1" i="0" u="none" strike="noStrike" cap="none">
                          <a:solidFill>
                            <a:srgbClr val="000000"/>
                          </a:solidFill>
                          <a:effectLst/>
                          <a:latin typeface="Arial"/>
                          <a:ea typeface="Arial"/>
                          <a:cs typeface="Arial"/>
                          <a:sym typeface="Arial"/>
                        </a:rPr>
                        <a:t>Electric Bill</a:t>
                      </a:r>
                      <a:r>
                        <a:rPr lang="de-DE" sz="1157" b="1" i="0" u="none" strike="noStrike" cap="none">
                          <a:solidFill>
                            <a:srgbClr val="000000"/>
                          </a:solidFill>
                          <a:effectLst/>
                          <a:latin typeface="Arial"/>
                          <a:ea typeface="Epilogue"/>
                          <a:cs typeface="Arial"/>
                          <a:sym typeface="Epilogue"/>
                        </a:rPr>
                        <a:t>)</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3 (</a:t>
                      </a:r>
                      <a:r>
                        <a:rPr lang="en-US" sz="1157" b="1" i="0" u="none" strike="noStrike" cap="none">
                          <a:solidFill>
                            <a:srgbClr val="000000"/>
                          </a:solidFill>
                          <a:effectLst/>
                          <a:latin typeface="Arial"/>
                          <a:ea typeface="Arial"/>
                          <a:cs typeface="Arial"/>
                          <a:sym typeface="Arial"/>
                        </a:rPr>
                        <a:t>Electric Bill</a:t>
                      </a:r>
                      <a:r>
                        <a:rPr lang="de-DE" sz="1157" b="1" i="0" u="none" strike="noStrike" cap="none">
                          <a:solidFill>
                            <a:srgbClr val="000000"/>
                          </a:solidFill>
                          <a:effectLst/>
                          <a:latin typeface="Arial"/>
                          <a:ea typeface="Epilogue"/>
                          <a:cs typeface="Arial"/>
                          <a:sym typeface="Epilogue"/>
                        </a:rPr>
                        <a:t>)</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519958">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93396853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32504E7-99D7-781A-5C41-F6DBFA9AC391}"/>
              </a:ext>
            </a:extLst>
          </p:cNvPr>
          <p:cNvSpPr>
            <a:spLocks noGrp="1"/>
          </p:cNvSpPr>
          <p:nvPr>
            <p:ph type="sldNum" sz="quarter" idx="10"/>
          </p:nvPr>
        </p:nvSpPr>
        <p:spPr/>
        <p:txBody>
          <a:bodyPr/>
          <a:lstStyle/>
          <a:p>
            <a:fld id="{DF7F771E-9578-4C04-B869-01AF4C35C90C}" type="slidenum">
              <a:rPr lang="de-DE" smtClean="0"/>
              <a:t>72</a:t>
            </a:fld>
            <a:endParaRPr lang="de-DE"/>
          </a:p>
        </p:txBody>
      </p:sp>
      <p:sp>
        <p:nvSpPr>
          <p:cNvPr id="10" name="Untertitel 5">
            <a:extLst>
              <a:ext uri="{FF2B5EF4-FFF2-40B4-BE49-F238E27FC236}">
                <a16:creationId xmlns:a16="http://schemas.microsoft.com/office/drawing/2014/main" id="{AD622A5F-F4FE-59CB-A204-99325C41930B}"/>
              </a:ext>
            </a:extLst>
          </p:cNvPr>
          <p:cNvSpPr txBox="1">
            <a:spLocks/>
          </p:cNvSpPr>
          <p:nvPr/>
        </p:nvSpPr>
        <p:spPr>
          <a:xfrm>
            <a:off x="655525" y="1298386"/>
            <a:ext cx="6000444"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Task 4: Practical Examples: Hair Dryer</a:t>
            </a:r>
            <a:endParaRPr lang="de-DE" sz="1200">
              <a:solidFill>
                <a:schemeClr val="accent2"/>
              </a:solidFill>
            </a:endParaRPr>
          </a:p>
        </p:txBody>
      </p:sp>
      <p:sp>
        <p:nvSpPr>
          <p:cNvPr id="11" name="Untertitel 3">
            <a:extLst>
              <a:ext uri="{FF2B5EF4-FFF2-40B4-BE49-F238E27FC236}">
                <a16:creationId xmlns:a16="http://schemas.microsoft.com/office/drawing/2014/main" id="{35992904-D9F3-C98B-7602-F8F3C4923FC3}"/>
              </a:ext>
            </a:extLst>
          </p:cNvPr>
          <p:cNvSpPr txBox="1">
            <a:spLocks/>
          </p:cNvSpPr>
          <p:nvPr/>
        </p:nvSpPr>
        <p:spPr>
          <a:xfrm>
            <a:off x="655524" y="1653313"/>
            <a:ext cx="5885337" cy="96293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Your task </a:t>
            </a:r>
            <a:r>
              <a:rPr lang="tr-TR"/>
              <a:t>for </a:t>
            </a:r>
            <a:r>
              <a:rPr lang="tr-TR" err="1"/>
              <a:t>the</a:t>
            </a:r>
            <a:r>
              <a:rPr lang="tr-TR"/>
              <a:t> </a:t>
            </a:r>
            <a:r>
              <a:rPr lang="tr-TR" err="1"/>
              <a:t>following</a:t>
            </a:r>
            <a:r>
              <a:rPr lang="tr-TR"/>
              <a:t> two </a:t>
            </a:r>
            <a:r>
              <a:rPr lang="tr-TR" err="1"/>
              <a:t>exercises</a:t>
            </a:r>
            <a:r>
              <a:rPr lang="tr-TR"/>
              <a:t> is</a:t>
            </a:r>
            <a:r>
              <a:rPr lang="en-US"/>
              <a:t> to perform Pivot Table Analysis to generate charts</a:t>
            </a:r>
            <a:r>
              <a:rPr lang="tr-TR"/>
              <a:t> for a </a:t>
            </a:r>
            <a:r>
              <a:rPr lang="en-US"/>
              <a:t>hair</a:t>
            </a:r>
            <a:r>
              <a:rPr lang="tr-TR"/>
              <a:t> </a:t>
            </a:r>
            <a:r>
              <a:rPr lang="tr-TR" err="1"/>
              <a:t>dryer’s</a:t>
            </a:r>
            <a:r>
              <a:rPr lang="tr-TR"/>
              <a:t> </a:t>
            </a:r>
            <a:r>
              <a:rPr lang="en-US"/>
              <a:t>different operation modes and total energy consumption of </a:t>
            </a:r>
            <a:r>
              <a:rPr lang="en-US" err="1"/>
              <a:t>th</a:t>
            </a:r>
            <a:r>
              <a:rPr lang="tr-TR"/>
              <a:t>e</a:t>
            </a:r>
            <a:r>
              <a:rPr lang="en-US"/>
              <a:t>se modes.</a:t>
            </a:r>
            <a:r>
              <a:rPr lang="tr-TR"/>
              <a:t> </a:t>
            </a:r>
            <a:r>
              <a:rPr lang="tr-TR" err="1"/>
              <a:t>The</a:t>
            </a:r>
            <a:r>
              <a:rPr lang="tr-TR"/>
              <a:t> h</a:t>
            </a:r>
            <a:r>
              <a:rPr lang="en-US"/>
              <a:t>air </a:t>
            </a:r>
            <a:r>
              <a:rPr lang="tr-TR"/>
              <a:t>d</a:t>
            </a:r>
            <a:r>
              <a:rPr lang="en-US" err="1"/>
              <a:t>ryer</a:t>
            </a:r>
            <a:r>
              <a:rPr lang="tr-TR"/>
              <a:t> is </a:t>
            </a:r>
            <a:r>
              <a:rPr lang="tr-TR" err="1"/>
              <a:t>the</a:t>
            </a:r>
            <a:r>
              <a:rPr lang="tr-TR"/>
              <a:t> </a:t>
            </a:r>
            <a:r>
              <a:rPr lang="tr-TR" err="1"/>
              <a:t>same</a:t>
            </a:r>
            <a:r>
              <a:rPr lang="tr-TR"/>
              <a:t> </a:t>
            </a:r>
            <a:r>
              <a:rPr lang="tr-TR" err="1"/>
              <a:t>one</a:t>
            </a:r>
            <a:r>
              <a:rPr lang="tr-TR"/>
              <a:t> </a:t>
            </a:r>
            <a:r>
              <a:rPr lang="tr-TR" err="1"/>
              <a:t>that</a:t>
            </a:r>
            <a:r>
              <a:rPr lang="tr-TR"/>
              <a:t> </a:t>
            </a:r>
            <a:r>
              <a:rPr lang="tr-TR" err="1"/>
              <a:t>was</a:t>
            </a:r>
            <a:r>
              <a:rPr lang="tr-TR"/>
              <a:t> </a:t>
            </a:r>
            <a:r>
              <a:rPr lang="tr-TR" err="1"/>
              <a:t>given</a:t>
            </a:r>
            <a:r>
              <a:rPr lang="tr-TR"/>
              <a:t> in </a:t>
            </a:r>
            <a:r>
              <a:rPr lang="tr-TR" err="1"/>
              <a:t>Task</a:t>
            </a:r>
            <a:r>
              <a:rPr lang="tr-TR"/>
              <a:t> 1.</a:t>
            </a:r>
            <a:r>
              <a:rPr lang="en-US"/>
              <a:t> </a:t>
            </a:r>
          </a:p>
        </p:txBody>
      </p:sp>
      <p:sp>
        <p:nvSpPr>
          <p:cNvPr id="12" name="Rechteck 11">
            <a:extLst>
              <a:ext uri="{FF2B5EF4-FFF2-40B4-BE49-F238E27FC236}">
                <a16:creationId xmlns:a16="http://schemas.microsoft.com/office/drawing/2014/main" id="{C0A15A9F-7FA2-8D5A-2473-34514FEB3715}"/>
              </a:ext>
            </a:extLst>
          </p:cNvPr>
          <p:cNvSpPr/>
          <p:nvPr/>
        </p:nvSpPr>
        <p:spPr>
          <a:xfrm>
            <a:off x="734761" y="2896327"/>
            <a:ext cx="5921208" cy="4285587"/>
          </a:xfrm>
          <a:prstGeom prst="rect">
            <a:avLst/>
          </a:prstGeom>
          <a:solidFill>
            <a:srgbClr val="FBEDE1"/>
          </a:solidFill>
          <a:ln>
            <a:solidFill>
              <a:srgbClr val="F0BB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Untertitel 5">
            <a:extLst>
              <a:ext uri="{FF2B5EF4-FFF2-40B4-BE49-F238E27FC236}">
                <a16:creationId xmlns:a16="http://schemas.microsoft.com/office/drawing/2014/main" id="{220CC376-00B0-58D4-4081-23430C93FBAC}"/>
              </a:ext>
            </a:extLst>
          </p:cNvPr>
          <p:cNvSpPr txBox="1">
            <a:spLocks/>
          </p:cNvSpPr>
          <p:nvPr/>
        </p:nvSpPr>
        <p:spPr>
          <a:xfrm>
            <a:off x="734761" y="2965096"/>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Guide </a:t>
            </a:r>
            <a:r>
              <a:rPr lang="de-DE" err="1"/>
              <a:t>for</a:t>
            </a:r>
            <a:r>
              <a:rPr lang="de-DE"/>
              <a:t> PivotTable Analysis</a:t>
            </a:r>
          </a:p>
        </p:txBody>
      </p:sp>
      <p:sp>
        <p:nvSpPr>
          <p:cNvPr id="14" name="Untertitel 2">
            <a:extLst>
              <a:ext uri="{FF2B5EF4-FFF2-40B4-BE49-F238E27FC236}">
                <a16:creationId xmlns:a16="http://schemas.microsoft.com/office/drawing/2014/main" id="{62B32513-70AB-540F-C0B7-8A7F0186C216}"/>
              </a:ext>
            </a:extLst>
          </p:cNvPr>
          <p:cNvSpPr txBox="1">
            <a:spLocks/>
          </p:cNvSpPr>
          <p:nvPr/>
        </p:nvSpPr>
        <p:spPr>
          <a:xfrm>
            <a:off x="726146" y="3452505"/>
            <a:ext cx="5929823" cy="372940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Navigate to the sheet named “Task4” in excel “</a:t>
            </a:r>
            <a:r>
              <a:rPr lang="en-US" err="1">
                <a:latin typeface="Sofia Sans" panose="020B0604020202020204" charset="0"/>
              </a:rPr>
              <a:t>Exercise_Appliances</a:t>
            </a:r>
            <a:r>
              <a:rPr lang="en-US">
                <a:latin typeface="Sofia Sans" panose="020B0604020202020204" charset="0"/>
              </a:rPr>
              <a:t>”</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Select all the data available on the sheet (Task 4)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Insert” tab.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PivotTable and choose the "New Worksheet" option from the pop-up window. </a:t>
            </a:r>
            <a:br>
              <a:rPr lang="en-US">
                <a:latin typeface="Sofia Sans" panose="020B0604020202020204" charset="0"/>
              </a:rPr>
            </a:br>
            <a:r>
              <a:rPr lang="en-US">
                <a:latin typeface="Sofia Sans" panose="020B0604020202020204" charset="0"/>
              </a:rPr>
              <a:t>Note: Rename this sheet as "Task4_Profile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In the “PivotTable Analyze tab”, click the "Field List"</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onfigure the PivotTable fields as follow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olumns: Operation Mode</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Rows: Operation Time (Second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Values: Power Converted (Watts) (Ensure it is set to "Sum" by right-clicking on "Power Converted (Watts)" and selecting "Value Field Setting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PivotTable, navigate to PivotTable Analyze  Tools  Pivot Chart, and select "2D Area Chart." (Avoid selecting a stacked area chart.)</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Lastly navigate to PivotTable Analyze tab again and click on “Insert Slicer”, from the pop-up window you should select “Operation Mode”. This slicer will allow users to easily manipulate which mode/s are shown in the chart. </a:t>
            </a:r>
          </a:p>
        </p:txBody>
      </p:sp>
      <p:sp>
        <p:nvSpPr>
          <p:cNvPr id="4" name="Untertitel 3">
            <a:extLst>
              <a:ext uri="{FF2B5EF4-FFF2-40B4-BE49-F238E27FC236}">
                <a16:creationId xmlns:a16="http://schemas.microsoft.com/office/drawing/2014/main" id="{51429869-9488-13F6-1C9D-153BBE37FA5F}"/>
              </a:ext>
            </a:extLst>
          </p:cNvPr>
          <p:cNvSpPr txBox="1">
            <a:spLocks/>
          </p:cNvSpPr>
          <p:nvPr/>
        </p:nvSpPr>
        <p:spPr>
          <a:xfrm>
            <a:off x="637588" y="2231496"/>
            <a:ext cx="5885337" cy="78523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endParaRPr lang="en-US" i="1"/>
          </a:p>
          <a:p>
            <a:pPr marL="368300" indent="-228600">
              <a:buFont typeface="+mj-lt"/>
              <a:buAutoNum type="arabicPeriod"/>
            </a:pPr>
            <a:r>
              <a:rPr lang="tr-TR" b="1" i="1" err="1"/>
              <a:t>Energy</a:t>
            </a:r>
            <a:r>
              <a:rPr lang="tr-TR" b="1" i="1"/>
              <a:t> </a:t>
            </a:r>
            <a:r>
              <a:rPr lang="tr-TR" b="1" i="1" err="1"/>
              <a:t>Consumption</a:t>
            </a:r>
            <a:r>
              <a:rPr lang="tr-TR" b="1" i="1"/>
              <a:t> </a:t>
            </a:r>
            <a:r>
              <a:rPr lang="tr-TR" b="1" i="1" err="1"/>
              <a:t>Profiles</a:t>
            </a:r>
            <a:endParaRPr lang="en-US" b="1" i="1"/>
          </a:p>
        </p:txBody>
      </p:sp>
      <p:sp>
        <p:nvSpPr>
          <p:cNvPr id="6" name="Untertitel 3">
            <a:extLst>
              <a:ext uri="{FF2B5EF4-FFF2-40B4-BE49-F238E27FC236}">
                <a16:creationId xmlns:a16="http://schemas.microsoft.com/office/drawing/2014/main" id="{CCE6F131-ED16-84C0-4712-D423455EEF34}"/>
              </a:ext>
            </a:extLst>
          </p:cNvPr>
          <p:cNvSpPr txBox="1">
            <a:spLocks/>
          </p:cNvSpPr>
          <p:nvPr/>
        </p:nvSpPr>
        <p:spPr>
          <a:xfrm>
            <a:off x="713078" y="7228108"/>
            <a:ext cx="5885337" cy="182070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Please fill in the table below</a:t>
            </a:r>
            <a:r>
              <a:rPr lang="tr-TR"/>
              <a:t> with the right Labels</a:t>
            </a:r>
            <a:r>
              <a:rPr lang="en-US"/>
              <a:t>. </a:t>
            </a:r>
          </a:p>
          <a:p>
            <a:pPr marL="139700" indent="0"/>
            <a:r>
              <a:rPr lang="tr-TR"/>
              <a:t>Note</a:t>
            </a:r>
            <a:r>
              <a:rPr lang="en-US"/>
              <a:t>: The hair dryer has three different heat settings (High Heat, Medium Heat, Low Heat) and 2 different fan speed settings (high and low). Therefore, the hair dryer has 6 different configurations for daily use. You can use abbreviations for the Labels (e.g.: High Heat, Low Speed  HHLS or Low Heat, High Speed  LHHS)</a:t>
            </a:r>
          </a:p>
          <a:p>
            <a:pPr marL="139700" indent="0"/>
            <a:r>
              <a:rPr lang="tr-TR"/>
              <a:t>Reminder</a:t>
            </a:r>
            <a:r>
              <a:rPr lang="en-US"/>
              <a:t>: The operation times for all modes are approximately 120 seconds. Therefore, operation time is not the main factor for the appliance's higher/lower energy consumption in different modes.</a:t>
            </a:r>
          </a:p>
        </p:txBody>
      </p:sp>
      <p:graphicFrame>
        <p:nvGraphicFramePr>
          <p:cNvPr id="15" name="Google Shape;630;p38">
            <a:extLst>
              <a:ext uri="{FF2B5EF4-FFF2-40B4-BE49-F238E27FC236}">
                <a16:creationId xmlns:a16="http://schemas.microsoft.com/office/drawing/2014/main" id="{21160B57-53FE-4384-6374-0154C79BEF9A}"/>
              </a:ext>
            </a:extLst>
          </p:cNvPr>
          <p:cNvGraphicFramePr/>
          <p:nvPr>
            <p:extLst>
              <p:ext uri="{D42A27DB-BD31-4B8C-83A1-F6EECF244321}">
                <p14:modId xmlns:p14="http://schemas.microsoft.com/office/powerpoint/2010/main" val="1875524039"/>
              </p:ext>
            </p:extLst>
          </p:nvPr>
        </p:nvGraphicFramePr>
        <p:xfrm>
          <a:off x="726146" y="9138304"/>
          <a:ext cx="5924682" cy="1020177"/>
        </p:xfrm>
        <a:graphic>
          <a:graphicData uri="http://schemas.openxmlformats.org/drawingml/2006/table">
            <a:tbl>
              <a:tblPr>
                <a:noFill/>
                <a:tableStyleId>{F0CFADBD-3245-443C-9B6D-9ACBA4CA32A5}</a:tableStyleId>
              </a:tblPr>
              <a:tblGrid>
                <a:gridCol w="987447">
                  <a:extLst>
                    <a:ext uri="{9D8B030D-6E8A-4147-A177-3AD203B41FA5}">
                      <a16:colId xmlns:a16="http://schemas.microsoft.com/office/drawing/2014/main" val="20000"/>
                    </a:ext>
                  </a:extLst>
                </a:gridCol>
                <a:gridCol w="987447">
                  <a:extLst>
                    <a:ext uri="{9D8B030D-6E8A-4147-A177-3AD203B41FA5}">
                      <a16:colId xmlns:a16="http://schemas.microsoft.com/office/drawing/2014/main" val="20001"/>
                    </a:ext>
                  </a:extLst>
                </a:gridCol>
                <a:gridCol w="987447">
                  <a:extLst>
                    <a:ext uri="{9D8B030D-6E8A-4147-A177-3AD203B41FA5}">
                      <a16:colId xmlns:a16="http://schemas.microsoft.com/office/drawing/2014/main" val="20002"/>
                    </a:ext>
                  </a:extLst>
                </a:gridCol>
                <a:gridCol w="987447">
                  <a:extLst>
                    <a:ext uri="{9D8B030D-6E8A-4147-A177-3AD203B41FA5}">
                      <a16:colId xmlns:a16="http://schemas.microsoft.com/office/drawing/2014/main" val="2472991007"/>
                    </a:ext>
                  </a:extLst>
                </a:gridCol>
                <a:gridCol w="987447">
                  <a:extLst>
                    <a:ext uri="{9D8B030D-6E8A-4147-A177-3AD203B41FA5}">
                      <a16:colId xmlns:a16="http://schemas.microsoft.com/office/drawing/2014/main" val="351844238"/>
                    </a:ext>
                  </a:extLst>
                </a:gridCol>
                <a:gridCol w="987447">
                  <a:extLst>
                    <a:ext uri="{9D8B030D-6E8A-4147-A177-3AD203B41FA5}">
                      <a16:colId xmlns:a16="http://schemas.microsoft.com/office/drawing/2014/main" val="4156805010"/>
                    </a:ext>
                  </a:extLst>
                </a:gridCol>
              </a:tblGrid>
              <a:tr h="456413">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A</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B</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C</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D</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E</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ode F</a:t>
                      </a: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0"/>
                  </a:ext>
                </a:extLst>
              </a:tr>
              <a:tr h="563764">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40848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32504E7-99D7-781A-5C41-F6DBFA9AC391}"/>
              </a:ext>
            </a:extLst>
          </p:cNvPr>
          <p:cNvSpPr>
            <a:spLocks noGrp="1"/>
          </p:cNvSpPr>
          <p:nvPr>
            <p:ph type="sldNum" sz="quarter" idx="10"/>
          </p:nvPr>
        </p:nvSpPr>
        <p:spPr/>
        <p:txBody>
          <a:bodyPr/>
          <a:lstStyle/>
          <a:p>
            <a:fld id="{DF7F771E-9578-4C04-B869-01AF4C35C90C}" type="slidenum">
              <a:rPr lang="de-DE" smtClean="0"/>
              <a:t>73</a:t>
            </a:fld>
            <a:endParaRPr lang="de-DE"/>
          </a:p>
        </p:txBody>
      </p:sp>
      <p:sp>
        <p:nvSpPr>
          <p:cNvPr id="12" name="Rechteck 11">
            <a:extLst>
              <a:ext uri="{FF2B5EF4-FFF2-40B4-BE49-F238E27FC236}">
                <a16:creationId xmlns:a16="http://schemas.microsoft.com/office/drawing/2014/main" id="{C0A15A9F-7FA2-8D5A-2473-34514FEB3715}"/>
              </a:ext>
            </a:extLst>
          </p:cNvPr>
          <p:cNvSpPr/>
          <p:nvPr/>
        </p:nvSpPr>
        <p:spPr>
          <a:xfrm>
            <a:off x="719137" y="1749013"/>
            <a:ext cx="6025612" cy="5767030"/>
          </a:xfrm>
          <a:prstGeom prst="rect">
            <a:avLst/>
          </a:prstGeom>
          <a:solidFill>
            <a:srgbClr val="FBEDE1"/>
          </a:solidFill>
          <a:ln>
            <a:solidFill>
              <a:srgbClr val="F0BB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Untertitel 5">
            <a:extLst>
              <a:ext uri="{FF2B5EF4-FFF2-40B4-BE49-F238E27FC236}">
                <a16:creationId xmlns:a16="http://schemas.microsoft.com/office/drawing/2014/main" id="{220CC376-00B0-58D4-4081-23430C93FBAC}"/>
              </a:ext>
            </a:extLst>
          </p:cNvPr>
          <p:cNvSpPr txBox="1">
            <a:spLocks/>
          </p:cNvSpPr>
          <p:nvPr/>
        </p:nvSpPr>
        <p:spPr>
          <a:xfrm>
            <a:off x="823541" y="1811726"/>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Guide </a:t>
            </a:r>
            <a:r>
              <a:rPr lang="de-DE" err="1"/>
              <a:t>for</a:t>
            </a:r>
            <a:r>
              <a:rPr lang="de-DE"/>
              <a:t> PivotTable Analysis</a:t>
            </a:r>
          </a:p>
        </p:txBody>
      </p:sp>
      <p:sp>
        <p:nvSpPr>
          <p:cNvPr id="14" name="Untertitel 2">
            <a:extLst>
              <a:ext uri="{FF2B5EF4-FFF2-40B4-BE49-F238E27FC236}">
                <a16:creationId xmlns:a16="http://schemas.microsoft.com/office/drawing/2014/main" id="{62B32513-70AB-540F-C0B7-8A7F0186C216}"/>
              </a:ext>
            </a:extLst>
          </p:cNvPr>
          <p:cNvSpPr txBox="1">
            <a:spLocks/>
          </p:cNvSpPr>
          <p:nvPr/>
        </p:nvSpPr>
        <p:spPr>
          <a:xfrm>
            <a:off x="814926" y="2305191"/>
            <a:ext cx="5929823" cy="521085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Navigate back to sheet “Task4” and select all the data available on the sheet. </a:t>
            </a:r>
            <a:endParaRPr lang="tr-TR">
              <a:latin typeface="Sofia Sans" panose="020B0604020202020204" charset="0"/>
            </a:endParaRP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Insert” tab.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PivotTable and choose the "New Worksheet" option from the pop-up window.</a:t>
            </a:r>
            <a:r>
              <a:rPr lang="tr-TR">
                <a:latin typeface="Sofia Sans" panose="020B0604020202020204" charset="0"/>
              </a:rPr>
              <a:t> </a:t>
            </a:r>
            <a:r>
              <a:rPr lang="en-US">
                <a:latin typeface="Sofia Sans" panose="020B0604020202020204" charset="0"/>
              </a:rPr>
              <a:t>Note: Note: Rename this sheet as "Task4_TotalConsumption«</a:t>
            </a:r>
            <a:endParaRPr lang="tr-TR">
              <a:latin typeface="Sofia Sans" panose="020B0604020202020204" charset="0"/>
            </a:endParaRP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anywhere on the PivotTable and navigate to the “PivotTable Analyze tab”</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In the calculations section click "Field, Items, &amp; Sets” and choose “Calculate Field”.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1.In the pop-up window there are 2 areas of interest “Name” and “Formula”.</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2.Configure as follows:</a:t>
            </a:r>
          </a:p>
          <a:p>
            <a:pPr marL="139700">
              <a:lnSpc>
                <a:spcPct val="115000"/>
              </a:lnSpc>
              <a:buClr>
                <a:schemeClr val="lt1"/>
              </a:buClr>
              <a:buSzPts val="1400"/>
            </a:pPr>
            <a:r>
              <a:rPr lang="tr-TR">
                <a:latin typeface="Sofia Sans" panose="020B0604020202020204" charset="0"/>
              </a:rPr>
              <a:t>	</a:t>
            </a:r>
            <a:r>
              <a:rPr lang="en-US">
                <a:latin typeface="Sofia Sans" panose="020B0604020202020204" charset="0"/>
              </a:rPr>
              <a:t>Name: Type in this field “Total Energy Consumption in kWh”</a:t>
            </a:r>
          </a:p>
          <a:p>
            <a:pPr marL="139700">
              <a:lnSpc>
                <a:spcPct val="115000"/>
              </a:lnSpc>
              <a:buClr>
                <a:schemeClr val="lt1"/>
              </a:buClr>
              <a:buSzPts val="1400"/>
            </a:pPr>
            <a:r>
              <a:rPr lang="tr-TR">
                <a:latin typeface="Sofia Sans" panose="020B0604020202020204" charset="0"/>
              </a:rPr>
              <a:t>	</a:t>
            </a:r>
            <a:r>
              <a:rPr lang="en-US">
                <a:latin typeface="Sofia Sans" panose="020B0604020202020204" charset="0"/>
              </a:rPr>
              <a:t>Formula: Click on the Formula window  choose “Power Converted (Watts) from the “Fields” window  Click “insert”  then type the Formula. To convert from </a:t>
            </a:r>
            <a:r>
              <a:rPr lang="en-US" err="1">
                <a:latin typeface="Sofia Sans" panose="020B0604020202020204" charset="0"/>
              </a:rPr>
              <a:t>Ws</a:t>
            </a:r>
            <a:r>
              <a:rPr lang="en-US">
                <a:latin typeface="Sofia Sans" panose="020B0604020202020204" charset="0"/>
              </a:rPr>
              <a:t> to kWh we need to divide our figure with this value “(3600*1000)”. The resulting formula should look like this “</a:t>
            </a:r>
            <a:r>
              <a:rPr lang="tr-TR">
                <a:latin typeface="Sofia Sans" panose="020B0604020202020204" charset="0"/>
              </a:rPr>
              <a:t> </a:t>
            </a:r>
            <a:r>
              <a:rPr lang="en-US">
                <a:latin typeface="Sofia Sans" panose="020B0604020202020204" charset="0"/>
              </a:rPr>
              <a:t>= 'Power Converted (Watts)' / (3600*1000)</a:t>
            </a:r>
            <a:r>
              <a:rPr lang="tr-TR">
                <a:latin typeface="Sofia Sans" panose="020B0604020202020204" charset="0"/>
              </a:rPr>
              <a:t> </a:t>
            </a:r>
            <a:r>
              <a:rPr lang="en-US">
                <a:latin typeface="Sofia Sans" panose="020B0604020202020204" charset="0"/>
              </a:rPr>
              <a:t>”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Add” and then “Ok”</a:t>
            </a:r>
          </a:p>
          <a:p>
            <a:pPr marL="139700">
              <a:lnSpc>
                <a:spcPct val="115000"/>
              </a:lnSpc>
              <a:buClr>
                <a:schemeClr val="lt1"/>
              </a:buClr>
              <a:buSzPts val="1400"/>
            </a:pPr>
            <a:r>
              <a:rPr lang="en-US">
                <a:latin typeface="Sofia Sans" panose="020B0604020202020204" charset="0"/>
              </a:rPr>
              <a:t>Note: This formula divides the total power consumption by 1000 to convert watts to kilowatts and then by 3600 to convert seconds to hour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onfigure the Fields as follows:</a:t>
            </a:r>
          </a:p>
          <a:p>
            <a:pPr marL="139700">
              <a:lnSpc>
                <a:spcPct val="115000"/>
              </a:lnSpc>
              <a:buClr>
                <a:schemeClr val="lt1"/>
              </a:buClr>
              <a:buSzPts val="1400"/>
            </a:pPr>
            <a:r>
              <a:rPr lang="tr-TR">
                <a:latin typeface="Sofia Sans" panose="020B0604020202020204" charset="0"/>
              </a:rPr>
              <a:t>	1</a:t>
            </a:r>
            <a:r>
              <a:rPr lang="en-US">
                <a:latin typeface="Sofia Sans" panose="020B0604020202020204" charset="0"/>
              </a:rPr>
              <a:t>.</a:t>
            </a:r>
            <a:r>
              <a:rPr lang="tr-TR">
                <a:latin typeface="Sofia Sans" panose="020B0604020202020204" charset="0"/>
              </a:rPr>
              <a:t> </a:t>
            </a:r>
            <a:r>
              <a:rPr lang="en-US">
                <a:latin typeface="Sofia Sans" panose="020B0604020202020204" charset="0"/>
              </a:rPr>
              <a:t>Columns: Operation Mode</a:t>
            </a:r>
          </a:p>
          <a:p>
            <a:pPr marL="139700">
              <a:lnSpc>
                <a:spcPct val="115000"/>
              </a:lnSpc>
              <a:buClr>
                <a:schemeClr val="lt1"/>
              </a:buClr>
              <a:buSzPts val="1400"/>
            </a:pPr>
            <a:r>
              <a:rPr lang="tr-TR">
                <a:latin typeface="Sofia Sans" panose="020B0604020202020204" charset="0"/>
              </a:rPr>
              <a:t>	</a:t>
            </a:r>
            <a:r>
              <a:rPr lang="en-US">
                <a:latin typeface="Sofia Sans" panose="020B0604020202020204" charset="0"/>
              </a:rPr>
              <a:t>2.</a:t>
            </a:r>
            <a:r>
              <a:rPr lang="tr-TR">
                <a:latin typeface="Sofia Sans" panose="020B0604020202020204" charset="0"/>
              </a:rPr>
              <a:t> </a:t>
            </a:r>
            <a:r>
              <a:rPr lang="en-US">
                <a:latin typeface="Sofia Sans" panose="020B0604020202020204" charset="0"/>
              </a:rPr>
              <a:t>Values: Total Energy Consumption in kWh</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PivotTable Analyze  Tools  Pivot Chart and select "Column or Bar Charts." (Avoid selecting the stacked chart option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Lastly navigate to PivotTable Analyze tab again and click on “Insert Slicer”, from the pop-up window you should select “Operation Mode”. This slicer will allow users to easily manipulate which appliance/s are shown in the chart. </a:t>
            </a:r>
          </a:p>
          <a:p>
            <a:pPr marL="457200" indent="-317500">
              <a:lnSpc>
                <a:spcPct val="115000"/>
              </a:lnSpc>
              <a:buClr>
                <a:schemeClr val="lt1"/>
              </a:buClr>
              <a:buSzPts val="1400"/>
              <a:buFont typeface="Arial" panose="020B0604020202020204" pitchFamily="34" charset="0"/>
              <a:buChar char="•"/>
            </a:pPr>
            <a:endParaRPr lang="en-US">
              <a:latin typeface="Sofia Sans" panose="020B0604020202020204" charset="0"/>
            </a:endParaRPr>
          </a:p>
        </p:txBody>
      </p:sp>
      <p:graphicFrame>
        <p:nvGraphicFramePr>
          <p:cNvPr id="15" name="Google Shape;630;p38">
            <a:extLst>
              <a:ext uri="{FF2B5EF4-FFF2-40B4-BE49-F238E27FC236}">
                <a16:creationId xmlns:a16="http://schemas.microsoft.com/office/drawing/2014/main" id="{21160B57-53FE-4384-6374-0154C79BEF9A}"/>
              </a:ext>
            </a:extLst>
          </p:cNvPr>
          <p:cNvGraphicFramePr/>
          <p:nvPr>
            <p:extLst>
              <p:ext uri="{D42A27DB-BD31-4B8C-83A1-F6EECF244321}">
                <p14:modId xmlns:p14="http://schemas.microsoft.com/office/powerpoint/2010/main" val="2876863333"/>
              </p:ext>
            </p:extLst>
          </p:nvPr>
        </p:nvGraphicFramePr>
        <p:xfrm>
          <a:off x="719138" y="8327325"/>
          <a:ext cx="6025613" cy="1340579"/>
        </p:xfrm>
        <a:graphic>
          <a:graphicData uri="http://schemas.openxmlformats.org/drawingml/2006/table">
            <a:tbl>
              <a:tblPr>
                <a:noFill/>
                <a:tableStyleId>{F0CFADBD-3245-443C-9B6D-9ACBA4CA32A5}</a:tableStyleId>
              </a:tblPr>
              <a:tblGrid>
                <a:gridCol w="990333">
                  <a:extLst>
                    <a:ext uri="{9D8B030D-6E8A-4147-A177-3AD203B41FA5}">
                      <a16:colId xmlns:a16="http://schemas.microsoft.com/office/drawing/2014/main" val="20000"/>
                    </a:ext>
                  </a:extLst>
                </a:gridCol>
                <a:gridCol w="1007056">
                  <a:extLst>
                    <a:ext uri="{9D8B030D-6E8A-4147-A177-3AD203B41FA5}">
                      <a16:colId xmlns:a16="http://schemas.microsoft.com/office/drawing/2014/main" val="20001"/>
                    </a:ext>
                  </a:extLst>
                </a:gridCol>
                <a:gridCol w="1007056">
                  <a:extLst>
                    <a:ext uri="{9D8B030D-6E8A-4147-A177-3AD203B41FA5}">
                      <a16:colId xmlns:a16="http://schemas.microsoft.com/office/drawing/2014/main" val="20002"/>
                    </a:ext>
                  </a:extLst>
                </a:gridCol>
                <a:gridCol w="1007056">
                  <a:extLst>
                    <a:ext uri="{9D8B030D-6E8A-4147-A177-3AD203B41FA5}">
                      <a16:colId xmlns:a16="http://schemas.microsoft.com/office/drawing/2014/main" val="2472991007"/>
                    </a:ext>
                  </a:extLst>
                </a:gridCol>
                <a:gridCol w="1007056">
                  <a:extLst>
                    <a:ext uri="{9D8B030D-6E8A-4147-A177-3AD203B41FA5}">
                      <a16:colId xmlns:a16="http://schemas.microsoft.com/office/drawing/2014/main" val="351844238"/>
                    </a:ext>
                  </a:extLst>
                </a:gridCol>
                <a:gridCol w="1007056">
                  <a:extLst>
                    <a:ext uri="{9D8B030D-6E8A-4147-A177-3AD203B41FA5}">
                      <a16:colId xmlns:a16="http://schemas.microsoft.com/office/drawing/2014/main" val="4156805010"/>
                    </a:ext>
                  </a:extLst>
                </a:gridCol>
              </a:tblGrid>
              <a:tr h="546811">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igh Heat </a:t>
                      </a:r>
                      <a:endParaRPr lang="tr-TR" sz="1157" b="1" i="0" u="none" strike="noStrike" cap="none">
                        <a:solidFill>
                          <a:srgbClr val="000000"/>
                        </a:solidFill>
                        <a:effectLst/>
                        <a:latin typeface="Arial"/>
                        <a:ea typeface="Epilogue"/>
                        <a:cs typeface="Arial"/>
                        <a:sym typeface="Epilogue"/>
                      </a:endParaRPr>
                    </a:p>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igh Speed</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igh Heat </a:t>
                      </a:r>
                      <a:endParaRPr lang="tr-TR" sz="1157" b="1" i="0" u="none" strike="noStrike" cap="none">
                        <a:solidFill>
                          <a:srgbClr val="000000"/>
                        </a:solidFill>
                        <a:effectLst/>
                        <a:latin typeface="Arial"/>
                        <a:ea typeface="Epilogue"/>
                        <a:cs typeface="Arial"/>
                        <a:sym typeface="Epilogue"/>
                      </a:endParaRPr>
                    </a:p>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Low Speed</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edium Heat High Speed</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Medium Heat Low Speed</a:t>
                      </a: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en-US" sz="1157" b="1" i="0" u="none" strike="noStrike" cap="none">
                          <a:solidFill>
                            <a:srgbClr val="000000"/>
                          </a:solidFill>
                          <a:effectLst/>
                          <a:latin typeface="Arial"/>
                          <a:ea typeface="Arial"/>
                          <a:cs typeface="Arial"/>
                          <a:sym typeface="Arial"/>
                        </a:rPr>
                        <a:t>Low Heat </a:t>
                      </a:r>
                      <a:endParaRPr lang="tr-TR" sz="1157" b="1" i="0" u="none" strike="noStrike" cap="none">
                        <a:solidFill>
                          <a:srgbClr val="000000"/>
                        </a:solidFill>
                        <a:effectLst/>
                        <a:latin typeface="Arial"/>
                        <a:ea typeface="Arial"/>
                        <a:cs typeface="Arial"/>
                        <a:sym typeface="Arial"/>
                      </a:endParaRPr>
                    </a:p>
                    <a:p>
                      <a:pPr marL="0" marR="0" lvl="0" indent="0" algn="ctr" rtl="0">
                        <a:lnSpc>
                          <a:spcPct val="115000"/>
                        </a:lnSpc>
                        <a:spcBef>
                          <a:spcPts val="0"/>
                        </a:spcBef>
                        <a:spcAft>
                          <a:spcPts val="0"/>
                        </a:spcAft>
                        <a:buClr>
                          <a:srgbClr val="000000"/>
                        </a:buClr>
                        <a:buFont typeface="Arial"/>
                        <a:buNone/>
                      </a:pPr>
                      <a:r>
                        <a:rPr lang="en-US" sz="1157" b="1" i="0" u="none" strike="noStrike" cap="none">
                          <a:solidFill>
                            <a:srgbClr val="000000"/>
                          </a:solidFill>
                          <a:effectLst/>
                          <a:latin typeface="Arial"/>
                          <a:ea typeface="Arial"/>
                          <a:cs typeface="Arial"/>
                          <a:sym typeface="Arial"/>
                        </a:rPr>
                        <a:t>High Speed</a:t>
                      </a:r>
                      <a:endParaRPr lang="de-DE" sz="1157" b="1" i="0" u="none" strike="noStrike" cap="none">
                        <a:solidFill>
                          <a:srgbClr val="000000"/>
                        </a:solidFill>
                        <a:effectLst/>
                        <a:latin typeface="Arial"/>
                        <a:ea typeface="Epilogue"/>
                        <a:cs typeface="Arial"/>
                        <a:sym typeface="Epilogue"/>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en-US" sz="1157" b="1" i="0" u="none" strike="noStrike" cap="none">
                          <a:solidFill>
                            <a:srgbClr val="000000"/>
                          </a:solidFill>
                          <a:effectLst/>
                          <a:latin typeface="Arial"/>
                          <a:ea typeface="Arial"/>
                          <a:cs typeface="Arial"/>
                          <a:sym typeface="Arial"/>
                        </a:rPr>
                        <a:t>Low Heat </a:t>
                      </a:r>
                      <a:endParaRPr lang="tr-TR" sz="1157" b="1" i="0" u="none" strike="noStrike" cap="none">
                        <a:solidFill>
                          <a:srgbClr val="000000"/>
                        </a:solidFill>
                        <a:effectLst/>
                        <a:latin typeface="Arial"/>
                        <a:ea typeface="Arial"/>
                        <a:cs typeface="Arial"/>
                        <a:sym typeface="Arial"/>
                      </a:endParaRPr>
                    </a:p>
                    <a:p>
                      <a:pPr marL="0" marR="0" lvl="0" indent="0" algn="ctr" rtl="0">
                        <a:lnSpc>
                          <a:spcPct val="115000"/>
                        </a:lnSpc>
                        <a:spcBef>
                          <a:spcPts val="0"/>
                        </a:spcBef>
                        <a:spcAft>
                          <a:spcPts val="0"/>
                        </a:spcAft>
                        <a:buClr>
                          <a:srgbClr val="000000"/>
                        </a:buClr>
                        <a:buFont typeface="Arial"/>
                        <a:buNone/>
                      </a:pPr>
                      <a:r>
                        <a:rPr lang="tr-TR" sz="1157" b="1" i="0" u="none" strike="noStrike" cap="none" err="1">
                          <a:solidFill>
                            <a:srgbClr val="000000"/>
                          </a:solidFill>
                          <a:effectLst/>
                          <a:latin typeface="Arial"/>
                          <a:ea typeface="Arial"/>
                          <a:cs typeface="Arial"/>
                          <a:sym typeface="Arial"/>
                        </a:rPr>
                        <a:t>Low</a:t>
                      </a:r>
                      <a:r>
                        <a:rPr lang="en-US" sz="1157" b="1" i="0" u="none" strike="noStrike" cap="none">
                          <a:solidFill>
                            <a:srgbClr val="000000"/>
                          </a:solidFill>
                          <a:effectLst/>
                          <a:latin typeface="Arial"/>
                          <a:ea typeface="Arial"/>
                          <a:cs typeface="Arial"/>
                          <a:sym typeface="Arial"/>
                        </a:rPr>
                        <a:t> Speed</a:t>
                      </a:r>
                      <a:endParaRPr lang="de-DE" sz="1157" b="1" i="0" u="none" strike="noStrike" cap="none">
                        <a:solidFill>
                          <a:srgbClr val="000000"/>
                        </a:solidFill>
                        <a:effectLst/>
                        <a:latin typeface="Arial"/>
                        <a:ea typeface="Epilogue"/>
                        <a:cs typeface="Arial"/>
                        <a:sym typeface="Epilogue"/>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dk1"/>
                      </a:solidFill>
                      <a:prstDash val="dash"/>
                      <a:round/>
                      <a:headEnd type="none" w="sm" len="sm"/>
                      <a:tailEnd type="none" w="sm" len="sm"/>
                    </a:lnB>
                  </a:tcPr>
                </a:tc>
                <a:extLst>
                  <a:ext uri="{0D108BD9-81ED-4DB2-BD59-A6C34878D82A}">
                    <a16:rowId xmlns:a16="http://schemas.microsoft.com/office/drawing/2014/main" val="10000"/>
                  </a:ext>
                </a:extLst>
              </a:tr>
              <a:tr h="793768">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lgn="ctr">
                      <a:solidFill>
                        <a:schemeClr val="dk1"/>
                      </a:solidFill>
                      <a:prstDash val="dash"/>
                      <a:round/>
                      <a:headEnd type="none" w="sm" len="sm"/>
                      <a:tailEnd type="none" w="sm" len="sm"/>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12700" cap="flat" cmpd="sng" algn="ctr">
                      <a:solidFill>
                        <a:schemeClr val="tx1"/>
                      </a:solidFill>
                      <a:prstDash val="solid"/>
                      <a:round/>
                      <a:headEnd type="none" w="med" len="med"/>
                      <a:tailEnd type="none" w="med" len="med"/>
                    </a:lnR>
                    <a:lnT w="9525" cap="flat" cmpd="sng" algn="ctr">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
        <p:nvSpPr>
          <p:cNvPr id="3" name="Untertitel 3">
            <a:extLst>
              <a:ext uri="{FF2B5EF4-FFF2-40B4-BE49-F238E27FC236}">
                <a16:creationId xmlns:a16="http://schemas.microsoft.com/office/drawing/2014/main" id="{AE82079B-6B75-CDA5-F4E8-1E9C1B570C90}"/>
              </a:ext>
            </a:extLst>
          </p:cNvPr>
          <p:cNvSpPr txBox="1">
            <a:spLocks/>
          </p:cNvSpPr>
          <p:nvPr/>
        </p:nvSpPr>
        <p:spPr>
          <a:xfrm>
            <a:off x="732301" y="1289389"/>
            <a:ext cx="5885337" cy="36834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startAt="2"/>
            </a:pPr>
            <a:r>
              <a:rPr lang="tr-TR" b="1" i="1"/>
              <a:t>Total </a:t>
            </a:r>
            <a:r>
              <a:rPr lang="tr-TR" b="1" i="1" err="1"/>
              <a:t>Energy</a:t>
            </a:r>
            <a:r>
              <a:rPr lang="tr-TR" b="1" i="1"/>
              <a:t> </a:t>
            </a:r>
            <a:r>
              <a:rPr lang="tr-TR" b="1" i="1" err="1"/>
              <a:t>Consumption</a:t>
            </a:r>
            <a:endParaRPr lang="en-US"/>
          </a:p>
        </p:txBody>
      </p:sp>
      <p:sp>
        <p:nvSpPr>
          <p:cNvPr id="8" name="Untertitel 3">
            <a:extLst>
              <a:ext uri="{FF2B5EF4-FFF2-40B4-BE49-F238E27FC236}">
                <a16:creationId xmlns:a16="http://schemas.microsoft.com/office/drawing/2014/main" id="{E6880414-D9EA-9A2B-3A32-8CFCF69C3870}"/>
              </a:ext>
            </a:extLst>
          </p:cNvPr>
          <p:cNvSpPr txBox="1">
            <a:spLocks/>
          </p:cNvSpPr>
          <p:nvPr/>
        </p:nvSpPr>
        <p:spPr>
          <a:xfrm>
            <a:off x="837168" y="7607322"/>
            <a:ext cx="5885337" cy="61410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Please fill in the total amounts of energy consumed by each mode. (Round your answers to three decimal places.)</a:t>
            </a:r>
            <a:endParaRPr lang="tr-TR"/>
          </a:p>
          <a:p>
            <a:pPr marL="139700" indent="0"/>
            <a:endParaRPr lang="en-US"/>
          </a:p>
        </p:txBody>
      </p:sp>
    </p:spTree>
    <p:extLst>
      <p:ext uri="{BB962C8B-B14F-4D97-AF65-F5344CB8AC3E}">
        <p14:creationId xmlns:p14="http://schemas.microsoft.com/office/powerpoint/2010/main" val="8287492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32504E7-99D7-781A-5C41-F6DBFA9AC391}"/>
              </a:ext>
            </a:extLst>
          </p:cNvPr>
          <p:cNvSpPr>
            <a:spLocks noGrp="1"/>
          </p:cNvSpPr>
          <p:nvPr>
            <p:ph type="sldNum" sz="quarter" idx="10"/>
          </p:nvPr>
        </p:nvSpPr>
        <p:spPr/>
        <p:txBody>
          <a:bodyPr/>
          <a:lstStyle/>
          <a:p>
            <a:fld id="{DF7F771E-9578-4C04-B869-01AF4C35C90C}" type="slidenum">
              <a:rPr lang="de-DE" smtClean="0"/>
              <a:t>74</a:t>
            </a:fld>
            <a:endParaRPr lang="de-DE"/>
          </a:p>
        </p:txBody>
      </p:sp>
      <p:sp>
        <p:nvSpPr>
          <p:cNvPr id="5" name="Untertitel 3">
            <a:extLst>
              <a:ext uri="{FF2B5EF4-FFF2-40B4-BE49-F238E27FC236}">
                <a16:creationId xmlns:a16="http://schemas.microsoft.com/office/drawing/2014/main" id="{38281BD9-EAEF-2D5D-E7DD-F3CDD0DFCA87}"/>
              </a:ext>
            </a:extLst>
          </p:cNvPr>
          <p:cNvSpPr txBox="1">
            <a:spLocks/>
          </p:cNvSpPr>
          <p:nvPr/>
        </p:nvSpPr>
        <p:spPr>
          <a:xfrm>
            <a:off x="732301" y="1292785"/>
            <a:ext cx="5921208" cy="189395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startAt="3"/>
            </a:pPr>
            <a:r>
              <a:rPr lang="en-US" b="1" i="1" dirty="0"/>
              <a:t>Consider two different households, each using a hair dryer three times a day</a:t>
            </a:r>
            <a:endParaRPr lang="tr-TR" b="1" i="1" dirty="0"/>
          </a:p>
          <a:p>
            <a:pPr marL="139700" indent="0"/>
            <a:endParaRPr lang="tr-TR" b="1" i="1" dirty="0"/>
          </a:p>
          <a:p>
            <a:pPr marL="139700" indent="0"/>
            <a:r>
              <a:rPr lang="tr-TR" b="1" i="1" dirty="0"/>
              <a:t>	</a:t>
            </a:r>
            <a:r>
              <a:rPr lang="en-US" dirty="0"/>
              <a:t>•The first household uses the hair dryer as follows: starts with high heat and high speed for 4 minutes, then switches to high heat and low speed for 2 minutes and finishes with medium heat and low speed for 2 minutes.</a:t>
            </a:r>
            <a:endParaRPr lang="tr-TR" dirty="0"/>
          </a:p>
          <a:p>
            <a:pPr marL="139700" indent="0"/>
            <a:r>
              <a:rPr lang="tr-TR" dirty="0"/>
              <a:t>	</a:t>
            </a:r>
            <a:r>
              <a:rPr lang="en-US" dirty="0"/>
              <a:t>•The second household starts using the hair dryer with medium heat and high speed for 2 minutes, and then switches to medium heat and low speed for 6 minutes</a:t>
            </a:r>
          </a:p>
          <a:p>
            <a:pPr marL="368300" indent="-228600">
              <a:buFont typeface="+mj-lt"/>
              <a:buAutoNum type="arabicPeriod" startAt="3"/>
            </a:pPr>
            <a:endParaRPr lang="en-US" b="1" i="1" dirty="0"/>
          </a:p>
        </p:txBody>
      </p:sp>
      <p:sp>
        <p:nvSpPr>
          <p:cNvPr id="6" name="Untertitel 3">
            <a:extLst>
              <a:ext uri="{FF2B5EF4-FFF2-40B4-BE49-F238E27FC236}">
                <a16:creationId xmlns:a16="http://schemas.microsoft.com/office/drawing/2014/main" id="{8A3BD1C1-1BA7-4589-5C66-AE5E339C87DF}"/>
              </a:ext>
            </a:extLst>
          </p:cNvPr>
          <p:cNvSpPr txBox="1">
            <a:spLocks/>
          </p:cNvSpPr>
          <p:nvPr/>
        </p:nvSpPr>
        <p:spPr>
          <a:xfrm>
            <a:off x="732301" y="3040026"/>
            <a:ext cx="5921208"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tr-TR" b="1"/>
              <a:t>3.1 </a:t>
            </a:r>
            <a:r>
              <a:rPr lang="en-US" b="1"/>
              <a:t>Calculate the monthly total energy consumption of these households for the hair dryer.</a:t>
            </a:r>
            <a:endParaRPr lang="tr-TR" b="1"/>
          </a:p>
        </p:txBody>
      </p:sp>
      <p:graphicFrame>
        <p:nvGraphicFramePr>
          <p:cNvPr id="10" name="Google Shape;630;p38">
            <a:extLst>
              <a:ext uri="{FF2B5EF4-FFF2-40B4-BE49-F238E27FC236}">
                <a16:creationId xmlns:a16="http://schemas.microsoft.com/office/drawing/2014/main" id="{29D0C1A4-73D7-3EF2-9C11-46D23ED21406}"/>
              </a:ext>
            </a:extLst>
          </p:cNvPr>
          <p:cNvGraphicFramePr/>
          <p:nvPr>
            <p:extLst>
              <p:ext uri="{D42A27DB-BD31-4B8C-83A1-F6EECF244321}">
                <p14:modId xmlns:p14="http://schemas.microsoft.com/office/powerpoint/2010/main" val="2002888375"/>
              </p:ext>
            </p:extLst>
          </p:nvPr>
        </p:nvGraphicFramePr>
        <p:xfrm>
          <a:off x="719138" y="3732435"/>
          <a:ext cx="5914254" cy="1200723"/>
        </p:xfrm>
        <a:graphic>
          <a:graphicData uri="http://schemas.openxmlformats.org/drawingml/2006/table">
            <a:tbl>
              <a:tblPr>
                <a:noFill/>
                <a:tableStyleId>{F0CFADBD-3245-443C-9B6D-9ACBA4CA32A5}</a:tableStyleId>
              </a:tblPr>
              <a:tblGrid>
                <a:gridCol w="2957127">
                  <a:extLst>
                    <a:ext uri="{9D8B030D-6E8A-4147-A177-3AD203B41FA5}">
                      <a16:colId xmlns:a16="http://schemas.microsoft.com/office/drawing/2014/main" val="20000"/>
                    </a:ext>
                  </a:extLst>
                </a:gridCol>
                <a:gridCol w="2957127">
                  <a:extLst>
                    <a:ext uri="{9D8B030D-6E8A-4147-A177-3AD203B41FA5}">
                      <a16:colId xmlns:a16="http://schemas.microsoft.com/office/drawing/2014/main" val="20001"/>
                    </a:ext>
                  </a:extLst>
                </a:gridCol>
              </a:tblGrid>
              <a:tr h="489765">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1 (</a:t>
                      </a:r>
                      <a:r>
                        <a:rPr lang="de-DE" sz="1157" b="1" i="0" u="none" strike="noStrike" cap="none" err="1">
                          <a:solidFill>
                            <a:srgbClr val="000000"/>
                          </a:solidFill>
                          <a:effectLst/>
                          <a:latin typeface="Arial"/>
                          <a:ea typeface="Epilogue"/>
                          <a:cs typeface="Arial"/>
                          <a:sym typeface="Epilogue"/>
                        </a:rPr>
                        <a:t>monthly</a:t>
                      </a:r>
                      <a:r>
                        <a:rPr lang="de-DE" sz="1157" b="1" i="0" u="none" strike="noStrike" cap="none">
                          <a:solidFill>
                            <a:srgbClr val="000000"/>
                          </a:solidFill>
                          <a:effectLst/>
                          <a:latin typeface="Arial"/>
                          <a:ea typeface="Epilogue"/>
                          <a:cs typeface="Arial"/>
                          <a:sym typeface="Epilogue"/>
                        </a:rPr>
                        <a:t>)</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2 (</a:t>
                      </a:r>
                      <a:r>
                        <a:rPr lang="de-DE" sz="1157" b="1" i="0" u="none" strike="noStrike" cap="none" err="1">
                          <a:solidFill>
                            <a:srgbClr val="000000"/>
                          </a:solidFill>
                          <a:effectLst/>
                          <a:latin typeface="Arial"/>
                          <a:ea typeface="Epilogue"/>
                          <a:cs typeface="Arial"/>
                          <a:sym typeface="Epilogue"/>
                        </a:rPr>
                        <a:t>monthly</a:t>
                      </a:r>
                      <a:r>
                        <a:rPr lang="de-DE" sz="1157" b="1" i="0" u="none" strike="noStrike" cap="none">
                          <a:solidFill>
                            <a:srgbClr val="000000"/>
                          </a:solidFill>
                          <a:effectLst/>
                          <a:latin typeface="Arial"/>
                          <a:ea typeface="Epilogue"/>
                          <a:cs typeface="Arial"/>
                          <a:sym typeface="Epilogue"/>
                        </a:rPr>
                        <a:t>)</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710958">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
        <p:nvSpPr>
          <p:cNvPr id="11" name="Untertitel 3">
            <a:extLst>
              <a:ext uri="{FF2B5EF4-FFF2-40B4-BE49-F238E27FC236}">
                <a16:creationId xmlns:a16="http://schemas.microsoft.com/office/drawing/2014/main" id="{F246FD71-3E36-1DB9-E51F-97FC7ED952CE}"/>
              </a:ext>
            </a:extLst>
          </p:cNvPr>
          <p:cNvSpPr txBox="1">
            <a:spLocks/>
          </p:cNvSpPr>
          <p:nvPr/>
        </p:nvSpPr>
        <p:spPr>
          <a:xfrm>
            <a:off x="732301" y="5072223"/>
            <a:ext cx="5921208" cy="5699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tr-TR" b="1"/>
              <a:t>3.2 </a:t>
            </a:r>
            <a:r>
              <a:rPr lang="en-US" b="1"/>
              <a:t>Using the information provided in “Task 3”, “part 1.2”, calculate the electric bill for each household. </a:t>
            </a:r>
          </a:p>
          <a:p>
            <a:pPr marL="139700" indent="0"/>
            <a:r>
              <a:rPr lang="en-US" i="1"/>
              <a:t>Assumption: For simplicity, students can assume the total energy used by each household, excluding the </a:t>
            </a:r>
            <a:r>
              <a:rPr lang="tr-TR" i="1" err="1"/>
              <a:t>Hair</a:t>
            </a:r>
            <a:r>
              <a:rPr lang="tr-TR" i="1"/>
              <a:t> </a:t>
            </a:r>
            <a:r>
              <a:rPr lang="tr-TR" i="1" err="1"/>
              <a:t>Dryer</a:t>
            </a:r>
            <a:r>
              <a:rPr lang="en-US" i="1"/>
              <a:t>'s contribution, is 260 kWh monthly.</a:t>
            </a:r>
          </a:p>
          <a:p>
            <a:pPr marL="139700" indent="0"/>
            <a:endParaRPr lang="tr-TR" b="1"/>
          </a:p>
        </p:txBody>
      </p:sp>
      <p:graphicFrame>
        <p:nvGraphicFramePr>
          <p:cNvPr id="16" name="Google Shape;630;p38">
            <a:extLst>
              <a:ext uri="{FF2B5EF4-FFF2-40B4-BE49-F238E27FC236}">
                <a16:creationId xmlns:a16="http://schemas.microsoft.com/office/drawing/2014/main" id="{83E8D4CF-8603-68A8-4195-F5EFF88B42BD}"/>
              </a:ext>
            </a:extLst>
          </p:cNvPr>
          <p:cNvGraphicFramePr/>
          <p:nvPr>
            <p:extLst>
              <p:ext uri="{D42A27DB-BD31-4B8C-83A1-F6EECF244321}">
                <p14:modId xmlns:p14="http://schemas.microsoft.com/office/powerpoint/2010/main" val="4196151254"/>
              </p:ext>
            </p:extLst>
          </p:nvPr>
        </p:nvGraphicFramePr>
        <p:xfrm>
          <a:off x="719138" y="6351801"/>
          <a:ext cx="5894134" cy="1200723"/>
        </p:xfrm>
        <a:graphic>
          <a:graphicData uri="http://schemas.openxmlformats.org/drawingml/2006/table">
            <a:tbl>
              <a:tblPr>
                <a:noFill/>
                <a:tableStyleId>{F0CFADBD-3245-443C-9B6D-9ACBA4CA32A5}</a:tableStyleId>
              </a:tblPr>
              <a:tblGrid>
                <a:gridCol w="2947067">
                  <a:extLst>
                    <a:ext uri="{9D8B030D-6E8A-4147-A177-3AD203B41FA5}">
                      <a16:colId xmlns:a16="http://schemas.microsoft.com/office/drawing/2014/main" val="20000"/>
                    </a:ext>
                  </a:extLst>
                </a:gridCol>
                <a:gridCol w="2947067">
                  <a:extLst>
                    <a:ext uri="{9D8B030D-6E8A-4147-A177-3AD203B41FA5}">
                      <a16:colId xmlns:a16="http://schemas.microsoft.com/office/drawing/2014/main" val="20001"/>
                    </a:ext>
                  </a:extLst>
                </a:gridCol>
              </a:tblGrid>
              <a:tr h="489765">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1 (</a:t>
                      </a:r>
                      <a:r>
                        <a:rPr lang="de-DE" sz="1157" b="1" i="0" u="none" strike="noStrike" cap="none" err="1">
                          <a:solidFill>
                            <a:srgbClr val="000000"/>
                          </a:solidFill>
                          <a:effectLst/>
                          <a:latin typeface="Arial"/>
                          <a:ea typeface="Epilogue"/>
                          <a:cs typeface="Arial"/>
                          <a:sym typeface="Epilogue"/>
                        </a:rPr>
                        <a:t>monthly</a:t>
                      </a:r>
                      <a:r>
                        <a:rPr lang="de-DE" sz="1157" b="1" i="0" u="none" strike="noStrike" cap="none">
                          <a:solidFill>
                            <a:srgbClr val="000000"/>
                          </a:solidFill>
                          <a:effectLst/>
                          <a:latin typeface="Arial"/>
                          <a:ea typeface="Epilogue"/>
                          <a:cs typeface="Arial"/>
                          <a:sym typeface="Epilogue"/>
                        </a:rPr>
                        <a:t>)</a:t>
                      </a: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de-DE" sz="1157" b="1" i="0" u="none" strike="noStrike" cap="none">
                          <a:solidFill>
                            <a:srgbClr val="000000"/>
                          </a:solidFill>
                          <a:effectLst/>
                          <a:latin typeface="Arial"/>
                          <a:ea typeface="Epilogue"/>
                          <a:cs typeface="Arial"/>
                          <a:sym typeface="Epilogue"/>
                        </a:rPr>
                        <a:t>Household 2 (</a:t>
                      </a:r>
                      <a:r>
                        <a:rPr lang="de-DE" sz="1157" b="1" i="0" u="none" strike="noStrike" cap="none" err="1">
                          <a:solidFill>
                            <a:srgbClr val="000000"/>
                          </a:solidFill>
                          <a:effectLst/>
                          <a:latin typeface="Arial"/>
                          <a:ea typeface="Epilogue"/>
                          <a:cs typeface="Arial"/>
                          <a:sym typeface="Epilogue"/>
                        </a:rPr>
                        <a:t>monthly</a:t>
                      </a:r>
                      <a:r>
                        <a:rPr lang="de-DE" sz="1157" b="1" i="0" u="none" strike="noStrike" cap="none">
                          <a:solidFill>
                            <a:srgbClr val="000000"/>
                          </a:solidFill>
                          <a:effectLst/>
                          <a:latin typeface="Arial"/>
                          <a:ea typeface="Epilogue"/>
                          <a:cs typeface="Arial"/>
                          <a:sym typeface="Epilogue"/>
                        </a:rPr>
                        <a:t>)</a:t>
                      </a: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710958">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0515826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A4AB9E3-F379-79F4-5706-5550E44DB6EE}"/>
              </a:ext>
            </a:extLst>
          </p:cNvPr>
          <p:cNvSpPr>
            <a:spLocks noGrp="1"/>
          </p:cNvSpPr>
          <p:nvPr>
            <p:ph type="sldNum" sz="quarter" idx="4"/>
          </p:nvPr>
        </p:nvSpPr>
        <p:spPr/>
        <p:txBody>
          <a:bodyPr/>
          <a:lstStyle/>
          <a:p>
            <a:fld id="{DF7F771E-9578-4C04-B869-01AF4C35C90C}" type="slidenum">
              <a:rPr lang="de-DE" smtClean="0"/>
              <a:t>75</a:t>
            </a:fld>
            <a:endParaRPr lang="de-DE"/>
          </a:p>
        </p:txBody>
      </p:sp>
      <p:sp>
        <p:nvSpPr>
          <p:cNvPr id="6" name="Untertitel 5">
            <a:extLst>
              <a:ext uri="{FF2B5EF4-FFF2-40B4-BE49-F238E27FC236}">
                <a16:creationId xmlns:a16="http://schemas.microsoft.com/office/drawing/2014/main" id="{81777B61-8AE7-4C27-B5BA-55E431E8159E}"/>
              </a:ext>
            </a:extLst>
          </p:cNvPr>
          <p:cNvSpPr txBox="1">
            <a:spLocks/>
          </p:cNvSpPr>
          <p:nvPr/>
        </p:nvSpPr>
        <p:spPr>
          <a:xfrm>
            <a:off x="531437" y="1154124"/>
            <a:ext cx="6191067"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Task </a:t>
            </a:r>
            <a:r>
              <a:rPr lang="tr-TR" sz="1200">
                <a:solidFill>
                  <a:schemeClr val="accent2"/>
                </a:solidFill>
              </a:rPr>
              <a:t>5</a:t>
            </a:r>
            <a:r>
              <a:rPr lang="en-US" sz="1200">
                <a:solidFill>
                  <a:schemeClr val="accent2"/>
                </a:solidFill>
              </a:rPr>
              <a:t>: Evaluating the Photovoltaic (PV) System Options for Residential</a:t>
            </a:r>
            <a:r>
              <a:rPr lang="tr-TR" sz="1200">
                <a:solidFill>
                  <a:schemeClr val="accent2"/>
                </a:solidFill>
              </a:rPr>
              <a:t> </a:t>
            </a:r>
            <a:r>
              <a:rPr lang="en-US" sz="1200">
                <a:solidFill>
                  <a:schemeClr val="accent2"/>
                </a:solidFill>
              </a:rPr>
              <a:t>Use </a:t>
            </a:r>
            <a:endParaRPr lang="de-DE" sz="1200">
              <a:solidFill>
                <a:schemeClr val="accent2"/>
              </a:solidFill>
            </a:endParaRPr>
          </a:p>
        </p:txBody>
      </p:sp>
      <p:sp>
        <p:nvSpPr>
          <p:cNvPr id="7" name="Untertitel 3">
            <a:extLst>
              <a:ext uri="{FF2B5EF4-FFF2-40B4-BE49-F238E27FC236}">
                <a16:creationId xmlns:a16="http://schemas.microsoft.com/office/drawing/2014/main" id="{98AE21B3-6B82-0EA5-7DD6-9DE90637E40B}"/>
              </a:ext>
            </a:extLst>
          </p:cNvPr>
          <p:cNvSpPr txBox="1">
            <a:spLocks/>
          </p:cNvSpPr>
          <p:nvPr/>
        </p:nvSpPr>
        <p:spPr>
          <a:xfrm>
            <a:off x="684303" y="1572765"/>
            <a:ext cx="5885337" cy="781278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gn="l" rtl="0" fontAlgn="base"/>
            <a:r>
              <a:rPr lang="en-US" sz="1400" b="1" i="0">
                <a:solidFill>
                  <a:srgbClr val="000000"/>
                </a:solidFill>
                <a:effectLst/>
                <a:highlight>
                  <a:srgbClr val="FFFFFF"/>
                </a:highlight>
                <a:latin typeface="Sofia Sans" panose="020B0604020202020204" charset="0"/>
              </a:rPr>
              <a:t>Background Information</a:t>
            </a:r>
            <a:r>
              <a:rPr lang="en-US" sz="1160" b="1" i="0">
                <a:solidFill>
                  <a:srgbClr val="000000"/>
                </a:solidFill>
                <a:effectLst/>
                <a:highlight>
                  <a:srgbClr val="FFFFFF"/>
                </a:highlight>
                <a:latin typeface="Sofia Sans" panose="020B0604020202020204" charset="0"/>
              </a:rPr>
              <a:t>:</a:t>
            </a:r>
            <a:r>
              <a:rPr lang="en-US" sz="1160" b="0" i="0">
                <a:solidFill>
                  <a:srgbClr val="000000"/>
                </a:solidFill>
                <a:effectLst/>
                <a:highlight>
                  <a:srgbClr val="FFFFFF"/>
                </a:highlight>
                <a:latin typeface="Sofia Sans" panose="020B0604020202020204" charset="0"/>
              </a:rPr>
              <a:t> </a:t>
            </a:r>
            <a:br>
              <a:rPr lang="tr-TR" sz="1160" b="0" i="0">
                <a:solidFill>
                  <a:srgbClr val="000000"/>
                </a:solidFill>
                <a:effectLst/>
                <a:highlight>
                  <a:srgbClr val="FFFFFF"/>
                </a:highlight>
                <a:latin typeface="Sofia Sans" panose="020B0604020202020204" charset="0"/>
              </a:rPr>
            </a:br>
            <a:endParaRPr lang="en-US" sz="1160" b="0" i="0">
              <a:solidFill>
                <a:srgbClr val="000000"/>
              </a:solidFill>
              <a:effectLst/>
              <a:highlight>
                <a:srgbClr val="FFFFFF"/>
              </a:highlight>
              <a:latin typeface="Sofia Sans" panose="020B0604020202020204" charset="0"/>
            </a:endParaRPr>
          </a:p>
          <a:p>
            <a:pPr algn="l" rtl="0" fontAlgn="base"/>
            <a:r>
              <a:rPr lang="tr-TR" sz="1160" b="1" i="0">
                <a:solidFill>
                  <a:srgbClr val="000000"/>
                </a:solidFill>
                <a:effectLst/>
                <a:highlight>
                  <a:srgbClr val="FFFFFF"/>
                </a:highlight>
                <a:latin typeface="Sofia Sans" panose="020B0604020202020204" charset="0"/>
              </a:rPr>
              <a:t>1. </a:t>
            </a:r>
            <a:r>
              <a:rPr lang="en-US" sz="1160" b="1" i="0">
                <a:solidFill>
                  <a:srgbClr val="000000"/>
                </a:solidFill>
                <a:effectLst/>
                <a:highlight>
                  <a:srgbClr val="FFFFFF"/>
                </a:highlight>
                <a:latin typeface="Sofia Sans" panose="020B0604020202020204" charset="0"/>
              </a:rPr>
              <a:t>PV System Capacity:</a:t>
            </a:r>
            <a:r>
              <a:rPr lang="en-US" sz="1160" b="0" i="0">
                <a:solidFill>
                  <a:srgbClr val="000000"/>
                </a:solidFill>
                <a:effectLst/>
                <a:highlight>
                  <a:srgbClr val="FFFFFF"/>
                </a:highlight>
                <a:latin typeface="Sofia Sans" panose="020B0604020202020204" charset="0"/>
              </a:rPr>
              <a:t> A 10 kW (kilowatt) photovoltaic (PV) system can provide a peak amount of energy of 10 kW. This is the maximum power output the system can generate under optimal conditions, such as full sunlight with no shading, ideal angle, and optimal temperature </a:t>
            </a:r>
            <a:r>
              <a:rPr lang="en-US" sz="1160" b="0" i="1">
                <a:solidFill>
                  <a:srgbClr val="000000"/>
                </a:solidFill>
                <a:effectLst/>
                <a:highlight>
                  <a:srgbClr val="FFFFFF"/>
                </a:highlight>
                <a:latin typeface="Sofia Sans" panose="020B0604020202020204" charset="0"/>
              </a:rPr>
              <a:t>(Students conducted experiments with small PV panels and observed that optimal energy production occurs under these conditions)</a:t>
            </a:r>
            <a:r>
              <a:rPr lang="en-US" sz="1160" b="0" i="0">
                <a:solidFill>
                  <a:srgbClr val="000000"/>
                </a:solidFill>
                <a:effectLst/>
                <a:highlight>
                  <a:srgbClr val="FFFFFF"/>
                </a:highlight>
                <a:latin typeface="Sofia Sans" panose="020B0604020202020204" charset="0"/>
              </a:rPr>
              <a:t> </a:t>
            </a:r>
          </a:p>
          <a:p>
            <a:pPr algn="l" rtl="0" fontAlgn="base"/>
            <a:r>
              <a:rPr lang="en-US" sz="1160" b="0" i="0">
                <a:solidFill>
                  <a:srgbClr val="000000"/>
                </a:solidFill>
                <a:effectLst/>
                <a:highlight>
                  <a:srgbClr val="FFFFFF"/>
                </a:highlight>
                <a:latin typeface="Sofia Sans" panose="020B0604020202020204" charset="0"/>
              </a:rPr>
              <a:t>In professional terms, the instantaneous power output is the maximum real-time power generation capacity of the PV system when exposed to peak sunlight and operating under ideal conditions. If the total wattage required by your devices exceeds the 10-kW capacity of your PV system, you will encounter several potential issues such as insufficient power for your devices, leading to underperformance, shutdowns, or failure to operate. </a:t>
            </a:r>
            <a:br>
              <a:rPr lang="tr-TR" sz="1160" b="0" i="0">
                <a:solidFill>
                  <a:srgbClr val="000000"/>
                </a:solidFill>
                <a:effectLst/>
                <a:highlight>
                  <a:srgbClr val="FFFFFF"/>
                </a:highlight>
                <a:latin typeface="Sofia Sans" panose="020B0604020202020204" charset="0"/>
              </a:rPr>
            </a:br>
            <a:endParaRPr lang="en-US" sz="1160" b="0" i="0">
              <a:solidFill>
                <a:srgbClr val="000000"/>
              </a:solidFill>
              <a:effectLst/>
              <a:highlight>
                <a:srgbClr val="FFFFFF"/>
              </a:highlight>
              <a:latin typeface="Sofia Sans" panose="020B0604020202020204" charset="0"/>
            </a:endParaRPr>
          </a:p>
          <a:p>
            <a:pPr algn="l" rtl="0" fontAlgn="base"/>
            <a:r>
              <a:rPr lang="tr-TR" sz="1160" b="1" i="0">
                <a:solidFill>
                  <a:srgbClr val="000000"/>
                </a:solidFill>
                <a:effectLst/>
                <a:highlight>
                  <a:srgbClr val="FFFFFF"/>
                </a:highlight>
                <a:latin typeface="Sofia Sans" panose="020B0604020202020204" charset="0"/>
              </a:rPr>
              <a:t>2. </a:t>
            </a:r>
            <a:r>
              <a:rPr lang="en-US" sz="1160" b="1" i="0">
                <a:solidFill>
                  <a:srgbClr val="000000"/>
                </a:solidFill>
                <a:effectLst/>
                <a:highlight>
                  <a:srgbClr val="FFFFFF"/>
                </a:highlight>
                <a:latin typeface="Sofia Sans" panose="020B0604020202020204" charset="0"/>
              </a:rPr>
              <a:t>Energy Production Estimates:</a:t>
            </a:r>
            <a:r>
              <a:rPr lang="en-US" sz="1160" b="0" i="0">
                <a:solidFill>
                  <a:srgbClr val="000000"/>
                </a:solidFill>
                <a:effectLst/>
                <a:highlight>
                  <a:srgbClr val="FFFFFF"/>
                </a:highlight>
                <a:latin typeface="Sofia Sans" panose="020B0604020202020204" charset="0"/>
              </a:rPr>
              <a:t> To understand energy production over time:  </a:t>
            </a:r>
            <a:br>
              <a:rPr lang="en-US" sz="1160" b="0" i="0">
                <a:solidFill>
                  <a:srgbClr val="000000"/>
                </a:solidFill>
                <a:effectLst/>
                <a:highlight>
                  <a:srgbClr val="FFFFFF"/>
                </a:highlight>
                <a:latin typeface="Sofia Sans" panose="020B0604020202020204" charset="0"/>
              </a:rPr>
            </a:br>
            <a:r>
              <a:rPr lang="en-US" sz="1160" b="0" i="0">
                <a:solidFill>
                  <a:srgbClr val="000000"/>
                </a:solidFill>
                <a:effectLst/>
                <a:highlight>
                  <a:srgbClr val="FFFFFF"/>
                </a:highlight>
                <a:latin typeface="Sofia Sans" panose="020B0604020202020204" charset="0"/>
              </a:rPr>
              <a:t>(</a:t>
            </a:r>
            <a:r>
              <a:rPr lang="en-US" sz="1160" b="0" i="1">
                <a:solidFill>
                  <a:srgbClr val="000000"/>
                </a:solidFill>
                <a:effectLst/>
                <a:highlight>
                  <a:srgbClr val="FFFFFF"/>
                </a:highlight>
                <a:latin typeface="Sofia Sans" panose="020B0604020202020204" charset="0"/>
              </a:rPr>
              <a:t>These estimates can vary based on geographical location, seasonal changes, and specific installation conditions.)</a:t>
            </a:r>
            <a:r>
              <a:rPr lang="en-US" sz="1160" b="0" i="0">
                <a:solidFill>
                  <a:srgbClr val="000000"/>
                </a:solidFill>
                <a:effectLst/>
                <a:highlight>
                  <a:srgbClr val="FFFFFF"/>
                </a:highlight>
                <a:latin typeface="Sofia Sans" panose="020B0604020202020204" charset="0"/>
              </a:rPr>
              <a:t> </a:t>
            </a:r>
          </a:p>
          <a:p>
            <a:pPr marL="139700" indent="0" algn="l" rtl="0" fontAlgn="base"/>
            <a:r>
              <a:rPr lang="en-US" sz="1160" b="1" i="0">
                <a:solidFill>
                  <a:srgbClr val="000000"/>
                </a:solidFill>
                <a:effectLst/>
                <a:highlight>
                  <a:srgbClr val="FFFFFF"/>
                </a:highlight>
                <a:latin typeface="Sofia Sans" panose="020B0604020202020204" charset="0"/>
              </a:rPr>
              <a:t>Daily Energy Production:</a:t>
            </a:r>
            <a:r>
              <a:rPr lang="en-US" sz="1160" b="0" i="0">
                <a:solidFill>
                  <a:srgbClr val="000000"/>
                </a:solidFill>
                <a:effectLst/>
                <a:highlight>
                  <a:srgbClr val="FFFFFF"/>
                </a:highlight>
                <a:latin typeface="Sofia Sans" panose="020B0604020202020204" charset="0"/>
              </a:rPr>
              <a:t> Assuming 4-6 hours of peak sunlight per day, a 10 kW PV system can produce: </a:t>
            </a:r>
          </a:p>
          <a:p>
            <a:pPr lvl="1" algn="l" fontAlgn="base">
              <a:buFont typeface="Arial" panose="020B0604020202020204" pitchFamily="34" charset="0"/>
              <a:buChar char="•"/>
            </a:pPr>
            <a:r>
              <a:rPr lang="en-US" sz="1160" b="0" i="0">
                <a:solidFill>
                  <a:srgbClr val="000000"/>
                </a:solidFill>
                <a:effectLst/>
                <a:highlight>
                  <a:srgbClr val="FFFFFF"/>
                </a:highlight>
                <a:latin typeface="Sofia Sans" panose="020B0604020202020204" charset="0"/>
              </a:rPr>
              <a:t>10 kW * 4 hours = 40 kWh (kilowatt-hours) per day (lower estimate) </a:t>
            </a:r>
          </a:p>
          <a:p>
            <a:pPr lvl="1" algn="l" fontAlgn="base">
              <a:buFont typeface="Arial" panose="020B0604020202020204" pitchFamily="34" charset="0"/>
              <a:buChar char="•"/>
            </a:pPr>
            <a:r>
              <a:rPr lang="en-US" sz="1160" b="0" i="0">
                <a:solidFill>
                  <a:srgbClr val="000000"/>
                </a:solidFill>
                <a:effectLst/>
                <a:highlight>
                  <a:srgbClr val="FFFFFF"/>
                </a:highlight>
                <a:latin typeface="Sofia Sans" panose="020B0604020202020204" charset="0"/>
              </a:rPr>
              <a:t>10 kW * 6 hours = 60 kWh per day (higher estimate) </a:t>
            </a:r>
            <a:br>
              <a:rPr lang="tr-TR" sz="1160" b="0" i="0">
                <a:solidFill>
                  <a:srgbClr val="000000"/>
                </a:solidFill>
                <a:effectLst/>
                <a:highlight>
                  <a:srgbClr val="FFFFFF"/>
                </a:highlight>
                <a:latin typeface="Sofia Sans" panose="020B0604020202020204" charset="0"/>
              </a:rPr>
            </a:br>
            <a:endParaRPr lang="en-US" sz="1160" b="0" i="0">
              <a:solidFill>
                <a:srgbClr val="000000"/>
              </a:solidFill>
              <a:effectLst/>
              <a:highlight>
                <a:srgbClr val="FFFFFF"/>
              </a:highlight>
              <a:latin typeface="Sofia Sans" panose="020B0604020202020204" charset="0"/>
            </a:endParaRPr>
          </a:p>
          <a:p>
            <a:pPr algn="l" rtl="0" fontAlgn="base"/>
            <a:r>
              <a:rPr lang="tr-TR" sz="1160" b="1" i="0">
                <a:solidFill>
                  <a:srgbClr val="000000"/>
                </a:solidFill>
                <a:effectLst/>
                <a:highlight>
                  <a:srgbClr val="FFFFFF"/>
                </a:highlight>
                <a:latin typeface="Sofia Sans" panose="020B0604020202020204" charset="0"/>
              </a:rPr>
              <a:t>3. </a:t>
            </a:r>
            <a:r>
              <a:rPr lang="en-US" sz="1160" b="1" i="0">
                <a:solidFill>
                  <a:srgbClr val="000000"/>
                </a:solidFill>
                <a:effectLst/>
                <a:highlight>
                  <a:srgbClr val="FFFFFF"/>
                </a:highlight>
                <a:latin typeface="Sofia Sans" panose="020B0604020202020204" charset="0"/>
              </a:rPr>
              <a:t>Managing Power Consumption:</a:t>
            </a:r>
            <a:r>
              <a:rPr lang="en-US" sz="1160" b="0" i="0">
                <a:solidFill>
                  <a:srgbClr val="000000"/>
                </a:solidFill>
                <a:effectLst/>
                <a:highlight>
                  <a:srgbClr val="FFFFFF"/>
                </a:highlight>
                <a:latin typeface="Sofia Sans" panose="020B0604020202020204" charset="0"/>
              </a:rPr>
              <a:t> </a:t>
            </a:r>
          </a:p>
          <a:p>
            <a:pPr algn="l" rtl="0" fontAlgn="base"/>
            <a:r>
              <a:rPr lang="en-US" sz="1160" b="1" i="0">
                <a:solidFill>
                  <a:srgbClr val="000000"/>
                </a:solidFill>
                <a:effectLst/>
                <a:highlight>
                  <a:srgbClr val="FFFFFF"/>
                </a:highlight>
                <a:latin typeface="Sofia Sans" panose="020B0604020202020204" charset="0"/>
              </a:rPr>
              <a:t>Energy Storage and Grid Dependence:</a:t>
            </a:r>
            <a:r>
              <a:rPr lang="en-US" sz="1160" b="0" i="0">
                <a:solidFill>
                  <a:srgbClr val="000000"/>
                </a:solidFill>
                <a:effectLst/>
                <a:highlight>
                  <a:srgbClr val="FFFFFF"/>
                </a:highlight>
                <a:latin typeface="Sofia Sans" panose="020B0604020202020204" charset="0"/>
              </a:rPr>
              <a:t> </a:t>
            </a:r>
          </a:p>
          <a:p>
            <a:pPr lvl="1" algn="l" fontAlgn="base">
              <a:buFont typeface="Arial" panose="020B0604020202020204" pitchFamily="34" charset="0"/>
              <a:buChar char="•"/>
            </a:pPr>
            <a:r>
              <a:rPr lang="en-US" sz="1160" b="1" i="0">
                <a:solidFill>
                  <a:srgbClr val="000000"/>
                </a:solidFill>
                <a:effectLst/>
                <a:highlight>
                  <a:srgbClr val="FFFFFF"/>
                </a:highlight>
                <a:latin typeface="Sofia Sans" panose="020B0604020202020204" charset="0"/>
              </a:rPr>
              <a:t>Battery Storage:</a:t>
            </a:r>
            <a:r>
              <a:rPr lang="en-US" sz="1160" b="0" i="0">
                <a:solidFill>
                  <a:srgbClr val="000000"/>
                </a:solidFill>
                <a:effectLst/>
                <a:highlight>
                  <a:srgbClr val="FFFFFF"/>
                </a:highlight>
                <a:latin typeface="Sofia Sans" panose="020B0604020202020204" charset="0"/>
              </a:rPr>
              <a:t> Temporary compensation for the shortfall if sufficiently charged. </a:t>
            </a:r>
          </a:p>
          <a:p>
            <a:pPr lvl="1" algn="l" fontAlgn="base">
              <a:buFont typeface="Arial" panose="020B0604020202020204" pitchFamily="34" charset="0"/>
              <a:buChar char="•"/>
            </a:pPr>
            <a:r>
              <a:rPr lang="en-US" sz="1160" b="1" i="0">
                <a:solidFill>
                  <a:srgbClr val="000000"/>
                </a:solidFill>
                <a:effectLst/>
                <a:highlight>
                  <a:srgbClr val="FFFFFF"/>
                </a:highlight>
                <a:latin typeface="Sofia Sans" panose="020B0604020202020204" charset="0"/>
              </a:rPr>
              <a:t>Grid Connection:</a:t>
            </a:r>
            <a:r>
              <a:rPr lang="en-US" sz="1160" b="0" i="0">
                <a:solidFill>
                  <a:srgbClr val="000000"/>
                </a:solidFill>
                <a:effectLst/>
                <a:highlight>
                  <a:srgbClr val="FFFFFF"/>
                </a:highlight>
                <a:latin typeface="Sofia Sans" panose="020B0604020202020204" charset="0"/>
              </a:rPr>
              <a:t> Drawing additional power from the grid, possibly incurring extra costs. </a:t>
            </a:r>
          </a:p>
          <a:p>
            <a:pPr algn="l" rtl="0" fontAlgn="base"/>
            <a:r>
              <a:rPr lang="en-US" sz="1160" b="1" i="0">
                <a:solidFill>
                  <a:srgbClr val="000000"/>
                </a:solidFill>
                <a:effectLst/>
                <a:highlight>
                  <a:srgbClr val="FFFFFF"/>
                </a:highlight>
                <a:latin typeface="Sofia Sans" panose="020B0604020202020204" charset="0"/>
              </a:rPr>
              <a:t>Demand Side Management:</a:t>
            </a:r>
            <a:r>
              <a:rPr lang="en-US" sz="1160" b="0" i="0">
                <a:solidFill>
                  <a:srgbClr val="000000"/>
                </a:solidFill>
                <a:effectLst/>
                <a:highlight>
                  <a:srgbClr val="FFFFFF"/>
                </a:highlight>
                <a:latin typeface="Sofia Sans" panose="020B0604020202020204" charset="0"/>
              </a:rPr>
              <a:t> </a:t>
            </a:r>
          </a:p>
          <a:p>
            <a:pPr lvl="1" algn="l" fontAlgn="base">
              <a:buFont typeface="Arial" panose="020B0604020202020204" pitchFamily="34" charset="0"/>
              <a:buChar char="•"/>
            </a:pPr>
            <a:r>
              <a:rPr lang="en-US" sz="1160" b="1" i="0">
                <a:solidFill>
                  <a:srgbClr val="000000"/>
                </a:solidFill>
                <a:effectLst/>
                <a:highlight>
                  <a:srgbClr val="FFFFFF"/>
                </a:highlight>
                <a:latin typeface="Sofia Sans" panose="020B0604020202020204" charset="0"/>
              </a:rPr>
              <a:t>Staggering the Use of High-Power Devices:</a:t>
            </a:r>
            <a:r>
              <a:rPr lang="en-US" sz="1160" b="0" i="0">
                <a:solidFill>
                  <a:srgbClr val="000000"/>
                </a:solidFill>
                <a:effectLst/>
                <a:highlight>
                  <a:srgbClr val="FFFFFF"/>
                </a:highlight>
                <a:latin typeface="Sofia Sans" panose="020B0604020202020204" charset="0"/>
              </a:rPr>
              <a:t> Scheduling the operation of high-power appliances at different times to avoid simultaneous peak loads. </a:t>
            </a:r>
          </a:p>
          <a:p>
            <a:pPr lvl="1" algn="l" fontAlgn="base">
              <a:buFont typeface="Arial" panose="020B0604020202020204" pitchFamily="34" charset="0"/>
              <a:buChar char="•"/>
            </a:pPr>
            <a:r>
              <a:rPr lang="en-US" sz="1160" b="1" i="0">
                <a:solidFill>
                  <a:srgbClr val="000000"/>
                </a:solidFill>
                <a:effectLst/>
                <a:highlight>
                  <a:srgbClr val="FFFFFF"/>
                </a:highlight>
                <a:latin typeface="Sofia Sans" panose="020B0604020202020204" charset="0"/>
              </a:rPr>
              <a:t>Using High-Efficiency Appliances:</a:t>
            </a:r>
            <a:r>
              <a:rPr lang="en-US" sz="1160" b="0" i="0">
                <a:solidFill>
                  <a:srgbClr val="000000"/>
                </a:solidFill>
                <a:effectLst/>
                <a:highlight>
                  <a:srgbClr val="FFFFFF"/>
                </a:highlight>
                <a:latin typeface="Sofia Sans" panose="020B0604020202020204" charset="0"/>
              </a:rPr>
              <a:t> Investing in and utilizing appliances that consume less energy for the same performance. </a:t>
            </a:r>
          </a:p>
          <a:p>
            <a:pPr lvl="1" algn="l" fontAlgn="base">
              <a:buFont typeface="Arial" panose="020B0604020202020204" pitchFamily="34" charset="0"/>
              <a:buChar char="•"/>
            </a:pPr>
            <a:r>
              <a:rPr lang="en-US" sz="1160" b="1" i="0">
                <a:solidFill>
                  <a:srgbClr val="000000"/>
                </a:solidFill>
                <a:effectLst/>
                <a:highlight>
                  <a:srgbClr val="FFFFFF"/>
                </a:highlight>
                <a:latin typeface="Sofia Sans" panose="020B0604020202020204" charset="0"/>
              </a:rPr>
              <a:t>Implementing Smart Home Systems:</a:t>
            </a:r>
            <a:r>
              <a:rPr lang="en-US" sz="1160" b="0" i="0">
                <a:solidFill>
                  <a:srgbClr val="000000"/>
                </a:solidFill>
                <a:effectLst/>
                <a:highlight>
                  <a:srgbClr val="FFFFFF"/>
                </a:highlight>
                <a:latin typeface="Sofia Sans" panose="020B0604020202020204" charset="0"/>
              </a:rPr>
              <a:t> Deploying smart home technologies to monitor, manage, and distribute energy loads effectively, ensuring efficient energy use and reducing waste. </a:t>
            </a:r>
          </a:p>
        </p:txBody>
      </p:sp>
    </p:spTree>
    <p:extLst>
      <p:ext uri="{BB962C8B-B14F-4D97-AF65-F5344CB8AC3E}">
        <p14:creationId xmlns:p14="http://schemas.microsoft.com/office/powerpoint/2010/main" val="2842116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32504E7-99D7-781A-5C41-F6DBFA9AC391}"/>
              </a:ext>
            </a:extLst>
          </p:cNvPr>
          <p:cNvSpPr>
            <a:spLocks noGrp="1"/>
          </p:cNvSpPr>
          <p:nvPr>
            <p:ph type="sldNum" sz="quarter" idx="10"/>
          </p:nvPr>
        </p:nvSpPr>
        <p:spPr/>
        <p:txBody>
          <a:bodyPr/>
          <a:lstStyle/>
          <a:p>
            <a:fld id="{DF7F771E-9578-4C04-B869-01AF4C35C90C}" type="slidenum">
              <a:rPr lang="de-DE" smtClean="0"/>
              <a:t>76</a:t>
            </a:fld>
            <a:endParaRPr lang="de-DE"/>
          </a:p>
        </p:txBody>
      </p:sp>
      <p:sp>
        <p:nvSpPr>
          <p:cNvPr id="12" name="Rechteck 11">
            <a:extLst>
              <a:ext uri="{FF2B5EF4-FFF2-40B4-BE49-F238E27FC236}">
                <a16:creationId xmlns:a16="http://schemas.microsoft.com/office/drawing/2014/main" id="{C0A15A9F-7FA2-8D5A-2473-34514FEB3715}"/>
              </a:ext>
            </a:extLst>
          </p:cNvPr>
          <p:cNvSpPr/>
          <p:nvPr/>
        </p:nvSpPr>
        <p:spPr>
          <a:xfrm>
            <a:off x="743641" y="3614314"/>
            <a:ext cx="5921208" cy="4377221"/>
          </a:xfrm>
          <a:prstGeom prst="rect">
            <a:avLst/>
          </a:prstGeom>
          <a:solidFill>
            <a:srgbClr val="FBEDE1"/>
          </a:solidFill>
          <a:ln>
            <a:solidFill>
              <a:srgbClr val="F0BB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Untertitel 5">
            <a:extLst>
              <a:ext uri="{FF2B5EF4-FFF2-40B4-BE49-F238E27FC236}">
                <a16:creationId xmlns:a16="http://schemas.microsoft.com/office/drawing/2014/main" id="{220CC376-00B0-58D4-4081-23430C93FBAC}"/>
              </a:ext>
            </a:extLst>
          </p:cNvPr>
          <p:cNvSpPr txBox="1">
            <a:spLocks/>
          </p:cNvSpPr>
          <p:nvPr/>
        </p:nvSpPr>
        <p:spPr>
          <a:xfrm>
            <a:off x="743641" y="368308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Guide </a:t>
            </a:r>
            <a:r>
              <a:rPr lang="de-DE" err="1"/>
              <a:t>for</a:t>
            </a:r>
            <a:r>
              <a:rPr lang="de-DE"/>
              <a:t> PivotTable Analysis</a:t>
            </a:r>
          </a:p>
        </p:txBody>
      </p:sp>
      <p:sp>
        <p:nvSpPr>
          <p:cNvPr id="14" name="Untertitel 2">
            <a:extLst>
              <a:ext uri="{FF2B5EF4-FFF2-40B4-BE49-F238E27FC236}">
                <a16:creationId xmlns:a16="http://schemas.microsoft.com/office/drawing/2014/main" id="{62B32513-70AB-540F-C0B7-8A7F0186C216}"/>
              </a:ext>
            </a:extLst>
          </p:cNvPr>
          <p:cNvSpPr txBox="1">
            <a:spLocks/>
          </p:cNvSpPr>
          <p:nvPr/>
        </p:nvSpPr>
        <p:spPr>
          <a:xfrm>
            <a:off x="735026" y="4170492"/>
            <a:ext cx="5929823" cy="382104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Navigate to sheet “Task5_DSM” and select all the data available on the sheet.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Insert” tab.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PivotTable and choose the "New Worksheet" option from the pop-up window.</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Note: Note: Rename this sheet as "Task5_DSM_Profile"</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anywhere on the PivotTable and navigate to the “PivotTable Analyze tab”</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onfigure the Fields as follows:</a:t>
            </a:r>
          </a:p>
          <a:p>
            <a:pPr marL="139700" lvl="3">
              <a:lnSpc>
                <a:spcPct val="115000"/>
              </a:lnSpc>
              <a:buClr>
                <a:schemeClr val="lt1"/>
              </a:buClr>
              <a:buSzPts val="1400"/>
            </a:pPr>
            <a:r>
              <a:rPr lang="tr-TR">
                <a:latin typeface="Sofia Sans" panose="020B0604020202020204" charset="0"/>
              </a:rPr>
              <a:t>	</a:t>
            </a:r>
            <a:r>
              <a:rPr lang="en-US">
                <a:latin typeface="Sofia Sans" panose="020B0604020202020204" charset="0"/>
              </a:rPr>
              <a:t>Columns: Application Type and Mode</a:t>
            </a:r>
          </a:p>
          <a:p>
            <a:pPr marL="139700">
              <a:lnSpc>
                <a:spcPct val="115000"/>
              </a:lnSpc>
              <a:buClr>
                <a:schemeClr val="lt1"/>
              </a:buClr>
              <a:buSzPts val="1400"/>
            </a:pPr>
            <a:r>
              <a:rPr lang="tr-TR">
                <a:latin typeface="Sofia Sans" panose="020B0604020202020204" charset="0"/>
              </a:rPr>
              <a:t>	</a:t>
            </a:r>
            <a:r>
              <a:rPr lang="en-US">
                <a:latin typeface="Sofia Sans" panose="020B0604020202020204" charset="0"/>
              </a:rPr>
              <a:t>Rows: </a:t>
            </a:r>
            <a:r>
              <a:rPr lang="en-US" err="1">
                <a:latin typeface="Sofia Sans" panose="020B0604020202020204" charset="0"/>
              </a:rPr>
              <a:t>TimeStamp</a:t>
            </a:r>
            <a:r>
              <a:rPr lang="en-US">
                <a:latin typeface="Sofia Sans" panose="020B0604020202020204" charset="0"/>
              </a:rPr>
              <a:t> (After putting this into the field there can be other entries such as “Hours(</a:t>
            </a:r>
            <a:r>
              <a:rPr lang="en-US" err="1">
                <a:latin typeface="Sofia Sans" panose="020B0604020202020204" charset="0"/>
              </a:rPr>
              <a:t>TimeStamp</a:t>
            </a:r>
            <a:r>
              <a:rPr lang="en-US">
                <a:latin typeface="Sofia Sans" panose="020B0604020202020204" charset="0"/>
              </a:rPr>
              <a:t>), Minutes(</a:t>
            </a:r>
            <a:r>
              <a:rPr lang="en-US" err="1">
                <a:latin typeface="Sofia Sans" panose="020B0604020202020204" charset="0"/>
              </a:rPr>
              <a:t>TimeStamp</a:t>
            </a:r>
            <a:r>
              <a:rPr lang="en-US">
                <a:latin typeface="Sofia Sans" panose="020B0604020202020204" charset="0"/>
              </a:rPr>
              <a:t>), etc. You should deselect these options except the Entry “</a:t>
            </a:r>
            <a:r>
              <a:rPr lang="en-US" err="1">
                <a:latin typeface="Sofia Sans" panose="020B0604020202020204" charset="0"/>
              </a:rPr>
              <a:t>TimeStamp</a:t>
            </a:r>
            <a:r>
              <a:rPr lang="en-US">
                <a:latin typeface="Sofia Sans" panose="020B0604020202020204" charset="0"/>
              </a:rPr>
              <a:t>” itself)</a:t>
            </a:r>
          </a:p>
          <a:p>
            <a:pPr marL="139700">
              <a:lnSpc>
                <a:spcPct val="115000"/>
              </a:lnSpc>
              <a:buClr>
                <a:schemeClr val="lt1"/>
              </a:buClr>
              <a:buSzPts val="1400"/>
            </a:pPr>
            <a:r>
              <a:rPr lang="tr-TR">
                <a:latin typeface="Sofia Sans" panose="020B0604020202020204" charset="0"/>
              </a:rPr>
              <a:t>	</a:t>
            </a:r>
            <a:r>
              <a:rPr lang="en-US">
                <a:latin typeface="Sofia Sans" panose="020B0604020202020204" charset="0"/>
              </a:rPr>
              <a:t>Values: Power Converted (Watts) (Ensure it is set to "Sum" by right-clicking on "Power Converted (Watts)" and selecting "Value Field Setting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PivotTable, navigate to PivotTable Analyze  Tools  Pivot Chart, and select "2D </a:t>
            </a:r>
            <a:r>
              <a:rPr lang="en-US" b="1">
                <a:latin typeface="Sofia Sans" panose="020B0604020202020204" charset="0"/>
              </a:rPr>
              <a:t>Stacked Area </a:t>
            </a:r>
            <a:r>
              <a:rPr lang="en-US">
                <a:latin typeface="Sofia Sans" panose="020B0604020202020204" charset="0"/>
              </a:rPr>
              <a:t>Chart." (Avoid selecting a normal area chart.)</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Lastly navigate to PivotTable Analyze tab again and click on “Insert Slicer”, from the pop-up window you should select “Appliance Type”. This slicer will allow users to easily manipulate which appliance/s are shown in the chart. </a:t>
            </a:r>
          </a:p>
        </p:txBody>
      </p:sp>
      <p:sp>
        <p:nvSpPr>
          <p:cNvPr id="4" name="Untertitel 3">
            <a:extLst>
              <a:ext uri="{FF2B5EF4-FFF2-40B4-BE49-F238E27FC236}">
                <a16:creationId xmlns:a16="http://schemas.microsoft.com/office/drawing/2014/main" id="{51429869-9488-13F6-1C9D-153BBE37FA5F}"/>
              </a:ext>
            </a:extLst>
          </p:cNvPr>
          <p:cNvSpPr txBox="1">
            <a:spLocks/>
          </p:cNvSpPr>
          <p:nvPr/>
        </p:nvSpPr>
        <p:spPr>
          <a:xfrm>
            <a:off x="726368" y="1295233"/>
            <a:ext cx="5885337" cy="70920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a:pPr>
            <a:r>
              <a:rPr lang="en-US" b="1" i="1"/>
              <a:t>Comparison of Two Households with/without Demand Side Management Measures </a:t>
            </a:r>
          </a:p>
        </p:txBody>
      </p:sp>
      <p:sp>
        <p:nvSpPr>
          <p:cNvPr id="2" name="Untertitel 3">
            <a:extLst>
              <a:ext uri="{FF2B5EF4-FFF2-40B4-BE49-F238E27FC236}">
                <a16:creationId xmlns:a16="http://schemas.microsoft.com/office/drawing/2014/main" id="{695B47C2-2B20-6780-D5FA-73D04A6BF2BF}"/>
              </a:ext>
            </a:extLst>
          </p:cNvPr>
          <p:cNvSpPr txBox="1">
            <a:spLocks/>
          </p:cNvSpPr>
          <p:nvPr/>
        </p:nvSpPr>
        <p:spPr>
          <a:xfrm>
            <a:off x="801857" y="1760889"/>
            <a:ext cx="5885337" cy="117503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Your task is to perform a Pivot Table Analysis to generate charts of the energy consumption profiles for two different households. </a:t>
            </a:r>
          </a:p>
          <a:p>
            <a:pPr marL="139700" indent="0"/>
            <a:endParaRPr lang="en-US"/>
          </a:p>
          <a:p>
            <a:pPr marL="139700" indent="0"/>
            <a:r>
              <a:rPr lang="en-US"/>
              <a:t>Note: The datasets provided for this task represent a two-hour period of the day of two different households (from 12:00:00 to 14:00:00). </a:t>
            </a:r>
          </a:p>
        </p:txBody>
      </p:sp>
      <p:sp>
        <p:nvSpPr>
          <p:cNvPr id="8" name="Untertitel 3">
            <a:extLst>
              <a:ext uri="{FF2B5EF4-FFF2-40B4-BE49-F238E27FC236}">
                <a16:creationId xmlns:a16="http://schemas.microsoft.com/office/drawing/2014/main" id="{E10E79E8-52FE-10A0-9ACB-4F602F15A569}"/>
              </a:ext>
            </a:extLst>
          </p:cNvPr>
          <p:cNvSpPr txBox="1">
            <a:spLocks/>
          </p:cNvSpPr>
          <p:nvPr/>
        </p:nvSpPr>
        <p:spPr>
          <a:xfrm>
            <a:off x="726368" y="3086288"/>
            <a:ext cx="5885337" cy="63711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startAt="2"/>
            </a:pPr>
            <a:r>
              <a:rPr lang="en-US" b="1" i="1"/>
              <a:t>Household with Demand Side Management Measures</a:t>
            </a:r>
            <a:r>
              <a:rPr lang="tr-TR" b="1" i="1"/>
              <a:t> </a:t>
            </a:r>
            <a:endParaRPr lang="en-US"/>
          </a:p>
        </p:txBody>
      </p:sp>
    </p:spTree>
    <p:extLst>
      <p:ext uri="{BB962C8B-B14F-4D97-AF65-F5344CB8AC3E}">
        <p14:creationId xmlns:p14="http://schemas.microsoft.com/office/powerpoint/2010/main" val="24784956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32504E7-99D7-781A-5C41-F6DBFA9AC391}"/>
              </a:ext>
            </a:extLst>
          </p:cNvPr>
          <p:cNvSpPr>
            <a:spLocks noGrp="1"/>
          </p:cNvSpPr>
          <p:nvPr>
            <p:ph type="sldNum" sz="quarter" idx="10"/>
          </p:nvPr>
        </p:nvSpPr>
        <p:spPr/>
        <p:txBody>
          <a:bodyPr/>
          <a:lstStyle/>
          <a:p>
            <a:fld id="{DF7F771E-9578-4C04-B869-01AF4C35C90C}" type="slidenum">
              <a:rPr lang="de-DE" smtClean="0"/>
              <a:t>77</a:t>
            </a:fld>
            <a:endParaRPr lang="de-DE"/>
          </a:p>
        </p:txBody>
      </p:sp>
      <p:sp>
        <p:nvSpPr>
          <p:cNvPr id="12" name="Rechteck 11">
            <a:extLst>
              <a:ext uri="{FF2B5EF4-FFF2-40B4-BE49-F238E27FC236}">
                <a16:creationId xmlns:a16="http://schemas.microsoft.com/office/drawing/2014/main" id="{C0A15A9F-7FA2-8D5A-2473-34514FEB3715}"/>
              </a:ext>
            </a:extLst>
          </p:cNvPr>
          <p:cNvSpPr/>
          <p:nvPr/>
        </p:nvSpPr>
        <p:spPr>
          <a:xfrm>
            <a:off x="743642" y="1756074"/>
            <a:ext cx="5921208" cy="4377221"/>
          </a:xfrm>
          <a:prstGeom prst="rect">
            <a:avLst/>
          </a:prstGeom>
          <a:solidFill>
            <a:srgbClr val="FBEDE1"/>
          </a:solidFill>
          <a:ln>
            <a:solidFill>
              <a:srgbClr val="F0BB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Untertitel 5">
            <a:extLst>
              <a:ext uri="{FF2B5EF4-FFF2-40B4-BE49-F238E27FC236}">
                <a16:creationId xmlns:a16="http://schemas.microsoft.com/office/drawing/2014/main" id="{220CC376-00B0-58D4-4081-23430C93FBAC}"/>
              </a:ext>
            </a:extLst>
          </p:cNvPr>
          <p:cNvSpPr txBox="1">
            <a:spLocks/>
          </p:cNvSpPr>
          <p:nvPr/>
        </p:nvSpPr>
        <p:spPr>
          <a:xfrm>
            <a:off x="743642" y="1824843"/>
            <a:ext cx="5076826"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a:t>Guide </a:t>
            </a:r>
            <a:r>
              <a:rPr lang="de-DE" err="1"/>
              <a:t>for</a:t>
            </a:r>
            <a:r>
              <a:rPr lang="de-DE"/>
              <a:t> PivotTable Analysis</a:t>
            </a:r>
          </a:p>
        </p:txBody>
      </p:sp>
      <p:sp>
        <p:nvSpPr>
          <p:cNvPr id="14" name="Untertitel 2">
            <a:extLst>
              <a:ext uri="{FF2B5EF4-FFF2-40B4-BE49-F238E27FC236}">
                <a16:creationId xmlns:a16="http://schemas.microsoft.com/office/drawing/2014/main" id="{62B32513-70AB-540F-C0B7-8A7F0186C216}"/>
              </a:ext>
            </a:extLst>
          </p:cNvPr>
          <p:cNvSpPr txBox="1">
            <a:spLocks/>
          </p:cNvSpPr>
          <p:nvPr/>
        </p:nvSpPr>
        <p:spPr>
          <a:xfrm>
            <a:off x="735027" y="2312252"/>
            <a:ext cx="5929823" cy="382104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57" b="0" i="0" u="none" strike="noStrike" cap="none">
                <a:solidFill>
                  <a:srgbClr val="000000"/>
                </a:solidFill>
                <a:latin typeface="Arial"/>
                <a:ea typeface="Arial"/>
                <a:cs typeface="Arial"/>
                <a:sym typeface="Arial"/>
              </a:defRPr>
            </a:lvl9pPr>
          </a:lstStyle>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Navigate to sheet “Task5_NoDSM” and select all the data available on the sheet.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Insert” tab. </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PivotTable and choose the "New Worksheet" option from the pop-up window.</a:t>
            </a:r>
            <a:r>
              <a:rPr lang="tr-TR">
                <a:latin typeface="Sofia Sans" panose="020B0604020202020204" charset="0"/>
              </a:rPr>
              <a:t> </a:t>
            </a:r>
            <a:r>
              <a:rPr lang="en-US">
                <a:latin typeface="Sofia Sans" panose="020B0604020202020204" charset="0"/>
              </a:rPr>
              <a:t>Note: Note: Rename this sheet as "Task5_NoDSM_Profile"</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anywhere on the PivotTable and navigate to the “PivotTable Analyze tab”</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onfigure the Fields as follows:</a:t>
            </a:r>
          </a:p>
          <a:p>
            <a:pPr marL="139700">
              <a:lnSpc>
                <a:spcPct val="115000"/>
              </a:lnSpc>
              <a:buClr>
                <a:schemeClr val="lt1"/>
              </a:buClr>
              <a:buSzPts val="1400"/>
            </a:pPr>
            <a:r>
              <a:rPr lang="tr-TR">
                <a:latin typeface="Sofia Sans" panose="020B0604020202020204" charset="0"/>
              </a:rPr>
              <a:t>	</a:t>
            </a:r>
            <a:r>
              <a:rPr lang="en-US">
                <a:latin typeface="Sofia Sans" panose="020B0604020202020204" charset="0"/>
              </a:rPr>
              <a:t>Columns: Application Type and Mode</a:t>
            </a:r>
          </a:p>
          <a:p>
            <a:pPr marL="139700">
              <a:lnSpc>
                <a:spcPct val="115000"/>
              </a:lnSpc>
              <a:buClr>
                <a:schemeClr val="lt1"/>
              </a:buClr>
              <a:buSzPts val="1400"/>
            </a:pPr>
            <a:r>
              <a:rPr lang="tr-TR">
                <a:latin typeface="Sofia Sans" panose="020B0604020202020204" charset="0"/>
              </a:rPr>
              <a:t>	</a:t>
            </a:r>
            <a:r>
              <a:rPr lang="en-US">
                <a:latin typeface="Sofia Sans" panose="020B0604020202020204" charset="0"/>
              </a:rPr>
              <a:t>Rows: </a:t>
            </a:r>
            <a:r>
              <a:rPr lang="en-US" err="1">
                <a:latin typeface="Sofia Sans" panose="020B0604020202020204" charset="0"/>
              </a:rPr>
              <a:t>TimeStamp</a:t>
            </a:r>
            <a:r>
              <a:rPr lang="en-US">
                <a:latin typeface="Sofia Sans" panose="020B0604020202020204" charset="0"/>
              </a:rPr>
              <a:t> (After putting this into the field there can be other entries such as “Hours(</a:t>
            </a:r>
            <a:r>
              <a:rPr lang="en-US" err="1">
                <a:latin typeface="Sofia Sans" panose="020B0604020202020204" charset="0"/>
              </a:rPr>
              <a:t>TimeStamp</a:t>
            </a:r>
            <a:r>
              <a:rPr lang="en-US">
                <a:latin typeface="Sofia Sans" panose="020B0604020202020204" charset="0"/>
              </a:rPr>
              <a:t>), Minutes(</a:t>
            </a:r>
            <a:r>
              <a:rPr lang="en-US" err="1">
                <a:latin typeface="Sofia Sans" panose="020B0604020202020204" charset="0"/>
              </a:rPr>
              <a:t>TimeStamp</a:t>
            </a:r>
            <a:r>
              <a:rPr lang="en-US">
                <a:latin typeface="Sofia Sans" panose="020B0604020202020204" charset="0"/>
              </a:rPr>
              <a:t>), etc. You should deselect these options except the Entry “</a:t>
            </a:r>
            <a:r>
              <a:rPr lang="en-US" err="1">
                <a:latin typeface="Sofia Sans" panose="020B0604020202020204" charset="0"/>
              </a:rPr>
              <a:t>TimeStamp</a:t>
            </a:r>
            <a:r>
              <a:rPr lang="en-US">
                <a:latin typeface="Sofia Sans" panose="020B0604020202020204" charset="0"/>
              </a:rPr>
              <a:t>” itself)</a:t>
            </a:r>
          </a:p>
          <a:p>
            <a:pPr marL="139700">
              <a:lnSpc>
                <a:spcPct val="115000"/>
              </a:lnSpc>
              <a:buClr>
                <a:schemeClr val="lt1"/>
              </a:buClr>
              <a:buSzPts val="1400"/>
            </a:pPr>
            <a:r>
              <a:rPr lang="tr-TR">
                <a:latin typeface="Sofia Sans" panose="020B0604020202020204" charset="0"/>
              </a:rPr>
              <a:t>	</a:t>
            </a:r>
            <a:r>
              <a:rPr lang="en-US">
                <a:latin typeface="Sofia Sans" panose="020B0604020202020204" charset="0"/>
              </a:rPr>
              <a:t>Values: Power Converted (Watts) (Ensure it is set to "Sum" by right-clicking on "Power Converted (Watts)" and selecting "Value Field Settings.")</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Click on the PivotTable, navigate to PivotTable Analyze  Tools  Pivot Chart, and select "2D </a:t>
            </a:r>
            <a:r>
              <a:rPr lang="en-US" b="1">
                <a:latin typeface="Sofia Sans" panose="020B0604020202020204" charset="0"/>
              </a:rPr>
              <a:t>Stacked Area </a:t>
            </a:r>
            <a:r>
              <a:rPr lang="en-US">
                <a:latin typeface="Sofia Sans" panose="020B0604020202020204" charset="0"/>
              </a:rPr>
              <a:t>Chart." (Avoid selecting a normal area chart.)</a:t>
            </a:r>
          </a:p>
          <a:p>
            <a:pPr marL="457200" indent="-317500">
              <a:lnSpc>
                <a:spcPct val="115000"/>
              </a:lnSpc>
              <a:buClr>
                <a:schemeClr val="lt1"/>
              </a:buClr>
              <a:buSzPts val="1400"/>
              <a:buFont typeface="Arial" panose="020B0604020202020204" pitchFamily="34" charset="0"/>
              <a:buChar char="•"/>
            </a:pPr>
            <a:r>
              <a:rPr lang="en-US">
                <a:latin typeface="Sofia Sans" panose="020B0604020202020204" charset="0"/>
              </a:rPr>
              <a:t>Lastly navigate to PivotTable Analyze tab again and click on “Insert Slicer”, from the pop-up window you should select “Appliance Type”. This slicer will allow users to easily manipulate which appliance/s are shown in the chart. </a:t>
            </a:r>
          </a:p>
        </p:txBody>
      </p:sp>
      <p:sp>
        <p:nvSpPr>
          <p:cNvPr id="2" name="Untertitel 3">
            <a:extLst>
              <a:ext uri="{FF2B5EF4-FFF2-40B4-BE49-F238E27FC236}">
                <a16:creationId xmlns:a16="http://schemas.microsoft.com/office/drawing/2014/main" id="{695B47C2-2B20-6780-D5FA-73D04A6BF2BF}"/>
              </a:ext>
            </a:extLst>
          </p:cNvPr>
          <p:cNvSpPr txBox="1">
            <a:spLocks/>
          </p:cNvSpPr>
          <p:nvPr/>
        </p:nvSpPr>
        <p:spPr>
          <a:xfrm>
            <a:off x="719138" y="6321017"/>
            <a:ext cx="6021123" cy="66884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a:t>Your task</a:t>
            </a:r>
            <a:r>
              <a:rPr lang="tr-TR"/>
              <a:t> now</a:t>
            </a:r>
            <a:r>
              <a:rPr lang="en-US"/>
              <a:t> is </a:t>
            </a:r>
            <a:r>
              <a:rPr lang="tr-TR"/>
              <a:t>fill in the table below with the peak consumption values (highest points on the the chart) of these households </a:t>
            </a:r>
            <a:r>
              <a:rPr lang="en-US"/>
              <a:t>discuss what are the possible implications of these peak values.</a:t>
            </a:r>
          </a:p>
        </p:txBody>
      </p:sp>
      <p:sp>
        <p:nvSpPr>
          <p:cNvPr id="3" name="Untertitel 3">
            <a:extLst>
              <a:ext uri="{FF2B5EF4-FFF2-40B4-BE49-F238E27FC236}">
                <a16:creationId xmlns:a16="http://schemas.microsoft.com/office/drawing/2014/main" id="{49A78907-FE36-7173-131B-B1FF761B690D}"/>
              </a:ext>
            </a:extLst>
          </p:cNvPr>
          <p:cNvSpPr txBox="1">
            <a:spLocks/>
          </p:cNvSpPr>
          <p:nvPr/>
        </p:nvSpPr>
        <p:spPr>
          <a:xfrm>
            <a:off x="726188" y="1303062"/>
            <a:ext cx="5921208" cy="43113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368300" indent="-228600">
              <a:buFont typeface="+mj-lt"/>
              <a:buAutoNum type="arabicPeriod" startAt="3"/>
            </a:pPr>
            <a:r>
              <a:rPr lang="en-US" b="1" i="1"/>
              <a:t>Household without Demand Side Management Measures </a:t>
            </a:r>
          </a:p>
          <a:p>
            <a:pPr marL="139700" indent="0"/>
            <a:endParaRPr lang="tr-TR" b="1" i="1"/>
          </a:p>
        </p:txBody>
      </p:sp>
      <p:graphicFrame>
        <p:nvGraphicFramePr>
          <p:cNvPr id="5" name="Google Shape;630;p38">
            <a:extLst>
              <a:ext uri="{FF2B5EF4-FFF2-40B4-BE49-F238E27FC236}">
                <a16:creationId xmlns:a16="http://schemas.microsoft.com/office/drawing/2014/main" id="{F5A0AF60-1308-B40E-3223-1097D68E66B0}"/>
              </a:ext>
            </a:extLst>
          </p:cNvPr>
          <p:cNvGraphicFramePr/>
          <p:nvPr>
            <p:extLst>
              <p:ext uri="{D42A27DB-BD31-4B8C-83A1-F6EECF244321}">
                <p14:modId xmlns:p14="http://schemas.microsoft.com/office/powerpoint/2010/main" val="1533909798"/>
              </p:ext>
            </p:extLst>
          </p:nvPr>
        </p:nvGraphicFramePr>
        <p:xfrm>
          <a:off x="735026" y="7248795"/>
          <a:ext cx="5906522" cy="1200723"/>
        </p:xfrm>
        <a:graphic>
          <a:graphicData uri="http://schemas.openxmlformats.org/drawingml/2006/table">
            <a:tbl>
              <a:tblPr>
                <a:noFill/>
                <a:tableStyleId>{F0CFADBD-3245-443C-9B6D-9ACBA4CA32A5}</a:tableStyleId>
              </a:tblPr>
              <a:tblGrid>
                <a:gridCol w="2953261">
                  <a:extLst>
                    <a:ext uri="{9D8B030D-6E8A-4147-A177-3AD203B41FA5}">
                      <a16:colId xmlns:a16="http://schemas.microsoft.com/office/drawing/2014/main" val="20000"/>
                    </a:ext>
                  </a:extLst>
                </a:gridCol>
                <a:gridCol w="2953261">
                  <a:extLst>
                    <a:ext uri="{9D8B030D-6E8A-4147-A177-3AD203B41FA5}">
                      <a16:colId xmlns:a16="http://schemas.microsoft.com/office/drawing/2014/main" val="20001"/>
                    </a:ext>
                  </a:extLst>
                </a:gridCol>
              </a:tblGrid>
              <a:tr h="489765">
                <a:tc>
                  <a:txBody>
                    <a:bodyPr/>
                    <a:lstStyle/>
                    <a:p>
                      <a:pPr marL="0" marR="0" lvl="0" indent="0" algn="ctr" rtl="0">
                        <a:lnSpc>
                          <a:spcPct val="115000"/>
                        </a:lnSpc>
                        <a:spcBef>
                          <a:spcPts val="0"/>
                        </a:spcBef>
                        <a:spcAft>
                          <a:spcPts val="0"/>
                        </a:spcAft>
                        <a:buClr>
                          <a:srgbClr val="000000"/>
                        </a:buClr>
                        <a:buFont typeface="Arial"/>
                        <a:buNone/>
                      </a:pPr>
                      <a:r>
                        <a:rPr lang="en-US" sz="1157" b="1" i="0" u="none" strike="noStrike" cap="none">
                          <a:solidFill>
                            <a:srgbClr val="000000"/>
                          </a:solidFill>
                          <a:effectLst/>
                          <a:latin typeface="Arial"/>
                          <a:ea typeface="Arial"/>
                          <a:cs typeface="Arial"/>
                          <a:sym typeface="Arial"/>
                        </a:rPr>
                        <a:t>Household</a:t>
                      </a:r>
                      <a:r>
                        <a:rPr lang="tr-TR" sz="1157" b="1" i="0" u="none" strike="noStrike" cap="none">
                          <a:solidFill>
                            <a:srgbClr val="000000"/>
                          </a:solidFill>
                          <a:effectLst/>
                          <a:latin typeface="Arial"/>
                          <a:ea typeface="Arial"/>
                          <a:cs typeface="Arial"/>
                          <a:sym typeface="Arial"/>
                        </a:rPr>
                        <a:t> </a:t>
                      </a:r>
                      <a:r>
                        <a:rPr lang="tr-TR" sz="1157" b="1" i="0" u="none" strike="noStrike" cap="none" err="1">
                          <a:solidFill>
                            <a:srgbClr val="000000"/>
                          </a:solidFill>
                          <a:effectLst/>
                          <a:latin typeface="Arial"/>
                          <a:ea typeface="Arial"/>
                          <a:cs typeface="Arial"/>
                          <a:sym typeface="Arial"/>
                        </a:rPr>
                        <a:t>with</a:t>
                      </a:r>
                      <a:r>
                        <a:rPr lang="en-US" sz="1157" b="1" i="0" u="none" strike="noStrike" cap="none">
                          <a:solidFill>
                            <a:srgbClr val="000000"/>
                          </a:solidFill>
                          <a:effectLst/>
                          <a:latin typeface="Arial"/>
                          <a:ea typeface="Arial"/>
                          <a:cs typeface="Arial"/>
                          <a:sym typeface="Arial"/>
                        </a:rPr>
                        <a:t> DSM </a:t>
                      </a:r>
                      <a:br>
                        <a:rPr lang="tr-TR" sz="1157" b="1" i="0" u="none" strike="noStrike" cap="none">
                          <a:solidFill>
                            <a:srgbClr val="000000"/>
                          </a:solidFill>
                          <a:effectLst/>
                          <a:latin typeface="Arial"/>
                          <a:ea typeface="Arial"/>
                          <a:cs typeface="Arial"/>
                          <a:sym typeface="Arial"/>
                        </a:rPr>
                      </a:br>
                      <a:r>
                        <a:rPr lang="en-US" sz="1157" b="1" i="0" u="none" strike="noStrike" cap="none">
                          <a:solidFill>
                            <a:srgbClr val="000000"/>
                          </a:solidFill>
                          <a:effectLst/>
                          <a:latin typeface="Arial"/>
                          <a:ea typeface="Arial"/>
                          <a:cs typeface="Arial"/>
                          <a:sym typeface="Arial"/>
                        </a:rPr>
                        <a:t>(Peak Consumption</a:t>
                      </a:r>
                      <a:r>
                        <a:rPr lang="tr-TR" sz="1157" b="1" i="0" u="none" strike="noStrike" cap="none">
                          <a:solidFill>
                            <a:srgbClr val="000000"/>
                          </a:solidFill>
                          <a:effectLst/>
                          <a:latin typeface="Arial"/>
                          <a:ea typeface="Arial"/>
                          <a:cs typeface="Arial"/>
                          <a:sym typeface="Arial"/>
                        </a:rPr>
                        <a:t> Value</a:t>
                      </a:r>
                      <a:r>
                        <a:rPr lang="en-US" sz="1157" b="1" i="0" u="none" strike="noStrike" cap="none">
                          <a:solidFill>
                            <a:srgbClr val="000000"/>
                          </a:solidFill>
                          <a:effectLst/>
                          <a:latin typeface="Arial"/>
                          <a:ea typeface="Arial"/>
                          <a:cs typeface="Arial"/>
                          <a:sym typeface="Arial"/>
                        </a:rPr>
                        <a:t>)</a:t>
                      </a:r>
                      <a:r>
                        <a:rPr lang="en-US" sz="1157" b="0" i="0" u="none" strike="noStrike" cap="none">
                          <a:solidFill>
                            <a:srgbClr val="000000"/>
                          </a:solidFill>
                          <a:effectLst/>
                          <a:latin typeface="Arial"/>
                          <a:ea typeface="Arial"/>
                          <a:cs typeface="Arial"/>
                          <a:sym typeface="Arial"/>
                        </a:rPr>
                        <a:t> </a:t>
                      </a:r>
                      <a:endParaRPr lang="de-DE" sz="1157" b="1" i="0" u="none" strike="noStrike" cap="none">
                        <a:solidFill>
                          <a:srgbClr val="000000"/>
                        </a:solidFill>
                        <a:effectLst/>
                        <a:latin typeface="Arial"/>
                        <a:ea typeface="Epilogue"/>
                        <a:cs typeface="Arial"/>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en-US" sz="1157" b="1" i="0" u="none" strike="noStrike" cap="none">
                          <a:solidFill>
                            <a:srgbClr val="000000"/>
                          </a:solidFill>
                          <a:effectLst/>
                          <a:latin typeface="Arial"/>
                          <a:ea typeface="Arial"/>
                          <a:cs typeface="Arial"/>
                          <a:sym typeface="Arial"/>
                        </a:rPr>
                        <a:t>Household </a:t>
                      </a:r>
                      <a:r>
                        <a:rPr lang="tr-TR" sz="1157" b="1" i="0" u="none" strike="noStrike" cap="none" err="1">
                          <a:solidFill>
                            <a:srgbClr val="000000"/>
                          </a:solidFill>
                          <a:effectLst/>
                          <a:latin typeface="Arial"/>
                          <a:ea typeface="Arial"/>
                          <a:cs typeface="Arial"/>
                          <a:sym typeface="Arial"/>
                        </a:rPr>
                        <a:t>without</a:t>
                      </a:r>
                      <a:r>
                        <a:rPr lang="en-US" sz="1157" b="1" i="0" u="none" strike="noStrike" cap="none">
                          <a:solidFill>
                            <a:srgbClr val="000000"/>
                          </a:solidFill>
                          <a:effectLst/>
                          <a:latin typeface="Arial"/>
                          <a:ea typeface="Arial"/>
                          <a:cs typeface="Arial"/>
                          <a:sym typeface="Arial"/>
                        </a:rPr>
                        <a:t> DSM </a:t>
                      </a:r>
                      <a:endParaRPr lang="tr-TR" sz="1157" b="1" i="0" u="none" strike="noStrike" cap="none">
                        <a:solidFill>
                          <a:srgbClr val="000000"/>
                        </a:solidFill>
                        <a:effectLst/>
                        <a:latin typeface="Arial"/>
                        <a:ea typeface="Arial"/>
                        <a:cs typeface="Arial"/>
                        <a:sym typeface="Arial"/>
                      </a:endParaRPr>
                    </a:p>
                    <a:p>
                      <a:pPr marL="0" marR="0" lvl="0" indent="0" algn="ctr" rtl="0">
                        <a:lnSpc>
                          <a:spcPct val="115000"/>
                        </a:lnSpc>
                        <a:spcBef>
                          <a:spcPts val="0"/>
                        </a:spcBef>
                        <a:spcAft>
                          <a:spcPts val="0"/>
                        </a:spcAft>
                        <a:buClr>
                          <a:srgbClr val="000000"/>
                        </a:buClr>
                        <a:buFont typeface="Arial"/>
                        <a:buNone/>
                      </a:pPr>
                      <a:r>
                        <a:rPr lang="en-US" sz="1157" b="1" i="0" u="none" strike="noStrike" cap="none">
                          <a:solidFill>
                            <a:srgbClr val="000000"/>
                          </a:solidFill>
                          <a:effectLst/>
                          <a:latin typeface="Arial"/>
                          <a:ea typeface="Arial"/>
                          <a:cs typeface="Arial"/>
                          <a:sym typeface="Arial"/>
                        </a:rPr>
                        <a:t>(Peak Consumption</a:t>
                      </a:r>
                      <a:r>
                        <a:rPr lang="tr-TR" sz="1157" b="1" i="0" u="none" strike="noStrike" cap="none">
                          <a:solidFill>
                            <a:srgbClr val="000000"/>
                          </a:solidFill>
                          <a:effectLst/>
                          <a:latin typeface="Arial"/>
                          <a:ea typeface="Arial"/>
                          <a:cs typeface="Arial"/>
                          <a:sym typeface="Arial"/>
                        </a:rPr>
                        <a:t> Value</a:t>
                      </a:r>
                      <a:r>
                        <a:rPr lang="en-US" sz="1157" b="1" i="0" u="none" strike="noStrike" cap="none">
                          <a:solidFill>
                            <a:srgbClr val="000000"/>
                          </a:solidFill>
                          <a:effectLst/>
                          <a:latin typeface="Arial"/>
                          <a:ea typeface="Arial"/>
                          <a:cs typeface="Arial"/>
                          <a:sym typeface="Arial"/>
                        </a:rPr>
                        <a:t>)</a:t>
                      </a:r>
                      <a:endParaRPr lang="de-DE" sz="1157" b="1" i="0" u="none" strike="noStrike" cap="none">
                        <a:solidFill>
                          <a:srgbClr val="000000"/>
                        </a:solidFill>
                        <a:effectLst/>
                        <a:latin typeface="Arial"/>
                        <a:ea typeface="Epilogue"/>
                        <a:cs typeface="Arial"/>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710958">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0560173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32504E7-99D7-781A-5C41-F6DBFA9AC391}"/>
              </a:ext>
            </a:extLst>
          </p:cNvPr>
          <p:cNvSpPr>
            <a:spLocks noGrp="1"/>
          </p:cNvSpPr>
          <p:nvPr>
            <p:ph type="sldNum" sz="quarter" idx="10"/>
          </p:nvPr>
        </p:nvSpPr>
        <p:spPr/>
        <p:txBody>
          <a:bodyPr/>
          <a:lstStyle/>
          <a:p>
            <a:fld id="{DF7F771E-9578-4C04-B869-01AF4C35C90C}" type="slidenum">
              <a:rPr lang="de-DE" smtClean="0"/>
              <a:t>78</a:t>
            </a:fld>
            <a:endParaRPr lang="de-DE"/>
          </a:p>
        </p:txBody>
      </p:sp>
      <p:sp>
        <p:nvSpPr>
          <p:cNvPr id="3" name="Untertitel 3">
            <a:extLst>
              <a:ext uri="{FF2B5EF4-FFF2-40B4-BE49-F238E27FC236}">
                <a16:creationId xmlns:a16="http://schemas.microsoft.com/office/drawing/2014/main" id="{49A78907-FE36-7173-131B-B1FF761B690D}"/>
              </a:ext>
            </a:extLst>
          </p:cNvPr>
          <p:cNvSpPr txBox="1">
            <a:spLocks/>
          </p:cNvSpPr>
          <p:nvPr/>
        </p:nvSpPr>
        <p:spPr>
          <a:xfrm>
            <a:off x="735781" y="1538837"/>
            <a:ext cx="5921208" cy="227783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160" dirty="0">
                <a:effectLst/>
                <a:latin typeface="Sofia Sans" panose="020B0604020202020204" charset="0"/>
                <a:ea typeface="Times New Roman" panose="02020603050405020304" pitchFamily="18" charset="0"/>
              </a:rPr>
              <a:t>Households from the previous example are now considering investing in a PV system.</a:t>
            </a:r>
            <a:endParaRPr lang="tr-TR" sz="1160" dirty="0">
              <a:effectLst/>
              <a:latin typeface="Sofia Sans" panose="020B0604020202020204" charset="0"/>
              <a:ea typeface="Times New Roman" panose="02020603050405020304" pitchFamily="18" charset="0"/>
            </a:endParaRPr>
          </a:p>
          <a:p>
            <a:r>
              <a:rPr lang="en-US" sz="1160" dirty="0">
                <a:effectLst/>
                <a:latin typeface="Sofia Sans" panose="020B0604020202020204" charset="0"/>
                <a:ea typeface="Times New Roman" panose="02020603050405020304" pitchFamily="18" charset="0"/>
              </a:rPr>
              <a:t>They have three different options for their home: </a:t>
            </a:r>
            <a:endParaRPr lang="tr-TR" sz="1160" dirty="0">
              <a:effectLst/>
              <a:latin typeface="Sofia Sans" panose="020B0604020202020204" charset="0"/>
              <a:ea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60" b="1" kern="0" dirty="0">
                <a:effectLst/>
                <a:latin typeface="Sofia Sans" panose="020B0604020202020204" charset="0"/>
                <a:ea typeface="Times New Roman" panose="02020603050405020304" pitchFamily="18" charset="0"/>
                <a:cs typeface="Times New Roman" panose="02020603050405020304" pitchFamily="18" charset="0"/>
              </a:rPr>
              <a:t>System A:</a:t>
            </a:r>
            <a:r>
              <a:rPr lang="en-US" sz="1160" kern="0" dirty="0">
                <a:effectLst/>
                <a:latin typeface="Sofia Sans" panose="020B0604020202020204" charset="0"/>
                <a:ea typeface="Times New Roman" panose="02020603050405020304" pitchFamily="18" charset="0"/>
                <a:cs typeface="Times New Roman" panose="02020603050405020304" pitchFamily="18" charset="0"/>
              </a:rPr>
              <a:t> 3 kW capacity with an investment cost of $4,000.</a:t>
            </a:r>
            <a:endParaRPr lang="tr-TR" sz="1160" kern="100" dirty="0">
              <a:effectLst/>
              <a:latin typeface="Sofia Sans" panose="020B0604020202020204" charset="0"/>
              <a:ea typeface="Aptos" panose="020B0004020202020204" pitchFamily="34" charset="0"/>
              <a:cs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60" b="1" kern="0" dirty="0">
                <a:effectLst/>
                <a:latin typeface="Sofia Sans" panose="020B0604020202020204" charset="0"/>
                <a:ea typeface="Times New Roman" panose="02020603050405020304" pitchFamily="18" charset="0"/>
                <a:cs typeface="Times New Roman" panose="02020603050405020304" pitchFamily="18" charset="0"/>
              </a:rPr>
              <a:t>System B:</a:t>
            </a:r>
            <a:r>
              <a:rPr lang="en-US" sz="1160" kern="0" dirty="0">
                <a:effectLst/>
                <a:latin typeface="Sofia Sans" panose="020B0604020202020204" charset="0"/>
                <a:ea typeface="Times New Roman" panose="02020603050405020304" pitchFamily="18" charset="0"/>
                <a:cs typeface="Times New Roman" panose="02020603050405020304" pitchFamily="18" charset="0"/>
              </a:rPr>
              <a:t> 5 kW capacity with an investment cost of $6,000.</a:t>
            </a:r>
            <a:endParaRPr lang="tr-TR" sz="1160" kern="100" dirty="0">
              <a:effectLst/>
              <a:latin typeface="Sofia Sans" panose="020B0604020202020204" charset="0"/>
              <a:ea typeface="Aptos" panose="020B0004020202020204" pitchFamily="34" charset="0"/>
              <a:cs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160" b="1" kern="0" dirty="0">
                <a:effectLst/>
                <a:latin typeface="Sofia Sans" panose="020B0604020202020204" charset="0"/>
                <a:ea typeface="Times New Roman" panose="02020603050405020304" pitchFamily="18" charset="0"/>
                <a:cs typeface="Times New Roman" panose="02020603050405020304" pitchFamily="18" charset="0"/>
              </a:rPr>
              <a:t>System C:</a:t>
            </a:r>
            <a:r>
              <a:rPr lang="en-US" sz="1160" kern="0" dirty="0">
                <a:effectLst/>
                <a:latin typeface="Sofia Sans" panose="020B0604020202020204" charset="0"/>
                <a:ea typeface="Times New Roman" panose="02020603050405020304" pitchFamily="18" charset="0"/>
                <a:cs typeface="Times New Roman" panose="02020603050405020304" pitchFamily="18" charset="0"/>
              </a:rPr>
              <a:t> 10 kW capacity with an investment cost of $10,000.</a:t>
            </a:r>
            <a:endParaRPr lang="tr-TR" sz="1160" kern="100" dirty="0">
              <a:effectLst/>
              <a:latin typeface="Sofia Sans" panose="020B0604020202020204" charset="0"/>
              <a:ea typeface="Aptos" panose="020B0004020202020204" pitchFamily="34" charset="0"/>
              <a:cs typeface="Times New Roman" panose="02020603050405020304" pitchFamily="18" charset="0"/>
            </a:endParaRPr>
          </a:p>
          <a:p>
            <a:pPr marL="139700" indent="0"/>
            <a:r>
              <a:rPr lang="en-US" dirty="0"/>
              <a:t>Note: For the following questions we assume the household without DSM measures has a peak consumption value of 9999 Watts instead. Which means it can be covered by an ideal 10 kW PV system. Also use the following conversion rate for your calculations:</a:t>
            </a:r>
            <a:r>
              <a:rPr lang="tr-TR" dirty="0"/>
              <a:t> </a:t>
            </a:r>
            <a:r>
              <a:rPr lang="en-US" dirty="0"/>
              <a:t>1 US Dollar = 15,36 GH cedis or 1 USD = 1536 GH pesewas.</a:t>
            </a:r>
            <a:endParaRPr lang="tr-TR" dirty="0"/>
          </a:p>
          <a:p>
            <a:pPr marL="139700" indent="0"/>
            <a:endParaRPr lang="tr-TR" sz="1160" b="1" i="1" dirty="0">
              <a:latin typeface="Sofia Sans" panose="020B0604020202020204" charset="0"/>
            </a:endParaRPr>
          </a:p>
        </p:txBody>
      </p:sp>
      <p:sp>
        <p:nvSpPr>
          <p:cNvPr id="6" name="TextBox 5">
            <a:extLst>
              <a:ext uri="{FF2B5EF4-FFF2-40B4-BE49-F238E27FC236}">
                <a16:creationId xmlns:a16="http://schemas.microsoft.com/office/drawing/2014/main" id="{C2C206BC-5085-5570-E1C5-F46A5D25BE3D}"/>
              </a:ext>
            </a:extLst>
          </p:cNvPr>
          <p:cNvSpPr txBox="1"/>
          <p:nvPr/>
        </p:nvSpPr>
        <p:spPr>
          <a:xfrm>
            <a:off x="740090" y="1295694"/>
            <a:ext cx="4332848" cy="486287"/>
          </a:xfrm>
          <a:prstGeom prst="rect">
            <a:avLst/>
          </a:prstGeom>
          <a:noFill/>
        </p:spPr>
        <p:txBody>
          <a:bodyPr wrap="square">
            <a:spAutoFit/>
          </a:bodyPr>
          <a:lstStyle/>
          <a:p>
            <a:r>
              <a:rPr lang="en-US" sz="1160" b="1">
                <a:solidFill>
                  <a:schemeClr val="accent2"/>
                </a:solidFill>
                <a:latin typeface="Sofia Sans" panose="020B0604020202020204" charset="0"/>
              </a:rPr>
              <a:t>4</a:t>
            </a:r>
            <a:r>
              <a:rPr lang="tr-TR" sz="1160" b="1">
                <a:solidFill>
                  <a:schemeClr val="accent2"/>
                </a:solidFill>
                <a:latin typeface="Sofia Sans" panose="020B0604020202020204" charset="0"/>
              </a:rPr>
              <a:t>.  </a:t>
            </a:r>
            <a:r>
              <a:rPr lang="en-US" sz="1160" b="1" i="1">
                <a:solidFill>
                  <a:schemeClr val="dk1"/>
                </a:solidFill>
                <a:latin typeface="Sofia Sans" panose="020B0604020202020204" charset="0"/>
                <a:sym typeface="Sofia Sans"/>
              </a:rPr>
              <a:t>PV System Options: 3 kW, 5 kW, 10 kW (In ideal conditions)</a:t>
            </a:r>
            <a:endParaRPr lang="tr-TR" sz="1160" b="1" i="1">
              <a:solidFill>
                <a:schemeClr val="dk1"/>
              </a:solidFill>
              <a:latin typeface="Sofia Sans" panose="020B0604020202020204" charset="0"/>
              <a:sym typeface="Sofia Sans"/>
            </a:endParaRPr>
          </a:p>
          <a:p>
            <a:endParaRPr lang="en-US" b="1">
              <a:latin typeface="Sofia Sans" panose="020B0604020202020204" charset="0"/>
            </a:endParaRPr>
          </a:p>
        </p:txBody>
      </p:sp>
      <p:sp>
        <p:nvSpPr>
          <p:cNvPr id="8" name="TextBox 7">
            <a:extLst>
              <a:ext uri="{FF2B5EF4-FFF2-40B4-BE49-F238E27FC236}">
                <a16:creationId xmlns:a16="http://schemas.microsoft.com/office/drawing/2014/main" id="{270FDF65-80AC-E5F0-9FB1-59A0302265E5}"/>
              </a:ext>
            </a:extLst>
          </p:cNvPr>
          <p:cNvSpPr txBox="1"/>
          <p:nvPr/>
        </p:nvSpPr>
        <p:spPr>
          <a:xfrm>
            <a:off x="740090" y="3816667"/>
            <a:ext cx="4332848" cy="270843"/>
          </a:xfrm>
          <a:prstGeom prst="rect">
            <a:avLst/>
          </a:prstGeom>
          <a:noFill/>
        </p:spPr>
        <p:txBody>
          <a:bodyPr wrap="square">
            <a:spAutoFit/>
          </a:bodyPr>
          <a:lstStyle/>
          <a:p>
            <a:r>
              <a:rPr lang="en-US" sz="1160" b="1">
                <a:solidFill>
                  <a:schemeClr val="accent2"/>
                </a:solidFill>
                <a:latin typeface="Sofia Sans" panose="020B0604020202020204" charset="0"/>
              </a:rPr>
              <a:t>4</a:t>
            </a:r>
            <a:r>
              <a:rPr lang="tr-TR" sz="1160" b="1">
                <a:solidFill>
                  <a:schemeClr val="accent2"/>
                </a:solidFill>
                <a:latin typeface="Sofia Sans" panose="020B0604020202020204" charset="0"/>
              </a:rPr>
              <a:t>.1  </a:t>
            </a:r>
            <a:r>
              <a:rPr lang="en-US" sz="1160" b="1" i="1">
                <a:solidFill>
                  <a:schemeClr val="dk1"/>
                </a:solidFill>
                <a:latin typeface="Sofia Sans" panose="020B0604020202020204" charset="0"/>
                <a:sym typeface="Sofia Sans"/>
              </a:rPr>
              <a:t>Energy Production and Cost Savings:</a:t>
            </a:r>
            <a:endParaRPr lang="en-US" b="1">
              <a:latin typeface="Sofia Sans" panose="020B0604020202020204" charset="0"/>
            </a:endParaRPr>
          </a:p>
        </p:txBody>
      </p:sp>
      <p:sp>
        <p:nvSpPr>
          <p:cNvPr id="9" name="Untertitel 3">
            <a:extLst>
              <a:ext uri="{FF2B5EF4-FFF2-40B4-BE49-F238E27FC236}">
                <a16:creationId xmlns:a16="http://schemas.microsoft.com/office/drawing/2014/main" id="{AD3FA64A-154C-8A63-3FEE-2DE8A03FDA9F}"/>
              </a:ext>
            </a:extLst>
          </p:cNvPr>
          <p:cNvSpPr txBox="1">
            <a:spLocks/>
          </p:cNvSpPr>
          <p:nvPr/>
        </p:nvSpPr>
        <p:spPr>
          <a:xfrm>
            <a:off x="735781" y="4059810"/>
            <a:ext cx="5921208" cy="312238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00000"/>
              </a:lnSpc>
            </a:pPr>
            <a:r>
              <a:rPr lang="en-US" sz="1160">
                <a:effectLst/>
                <a:latin typeface="Sofia Sans" panose="020B0604020202020204" charset="0"/>
                <a:ea typeface="Times New Roman" panose="02020603050405020304" pitchFamily="18" charset="0"/>
              </a:rPr>
              <a:t>In Accra, the capital city of Ghana, the average sunlight hours per day range from </a:t>
            </a:r>
            <a:r>
              <a:rPr lang="tr-TR" sz="1160">
                <a:effectLst/>
                <a:latin typeface="Sofia Sans" panose="020B0604020202020204" charset="0"/>
                <a:ea typeface="Times New Roman" panose="02020603050405020304" pitchFamily="18" charset="0"/>
              </a:rPr>
              <a:t>4</a:t>
            </a:r>
          </a:p>
          <a:p>
            <a:pPr>
              <a:lnSpc>
                <a:spcPct val="100000"/>
              </a:lnSpc>
            </a:pPr>
            <a:r>
              <a:rPr lang="en-US" sz="1160">
                <a:effectLst/>
                <a:latin typeface="Sofia Sans" panose="020B0604020202020204" charset="0"/>
                <a:ea typeface="Times New Roman" panose="02020603050405020304" pitchFamily="18" charset="0"/>
              </a:rPr>
              <a:t>hours and 30 minutes in July to 8 hours in November. Annually, Accra receives about</a:t>
            </a:r>
            <a:endParaRPr lang="tr-TR" sz="1160">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2377 hours of sunlight, averaging around 6 hours and 30 minutes of sunlight per day.</a:t>
            </a:r>
          </a:p>
          <a:p>
            <a:pPr>
              <a:lnSpc>
                <a:spcPct val="100000"/>
              </a:lnSpc>
            </a:pPr>
            <a:endParaRPr lang="tr-TR" sz="1160">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Note: The 2-hour section of these households consumed the same total energy</a:t>
            </a:r>
            <a:endParaRPr lang="tr-TR" sz="1160">
              <a:effectLst/>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1,33284 kWh”, we can assume that their daily total consumption is 10 times more</a:t>
            </a:r>
            <a:endParaRPr lang="tr-TR" sz="1160">
              <a:effectLst/>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13,3284”</a:t>
            </a:r>
            <a:r>
              <a:rPr lang="tr-TR" sz="1160">
                <a:effectLst/>
                <a:latin typeface="Sofia Sans" panose="020B0604020202020204" charset="0"/>
                <a:ea typeface="Times New Roman" panose="02020603050405020304" pitchFamily="18" charset="0"/>
              </a:rPr>
              <a:t> </a:t>
            </a:r>
            <a:r>
              <a:rPr lang="en-US" sz="1160">
                <a:effectLst/>
                <a:latin typeface="Sofia Sans" panose="020B0604020202020204" charset="0"/>
                <a:ea typeface="Times New Roman" panose="02020603050405020304" pitchFamily="18" charset="0"/>
              </a:rPr>
              <a:t>and that adds up to “399,8518 kWh” monthly</a:t>
            </a:r>
            <a:r>
              <a:rPr lang="en-US" sz="1160" b="1">
                <a:effectLst/>
                <a:latin typeface="Sofia Sans" panose="020B0604020202020204" charset="0"/>
                <a:ea typeface="Times New Roman" panose="02020603050405020304" pitchFamily="18" charset="0"/>
              </a:rPr>
              <a:t>. For simplicity we assume each</a:t>
            </a:r>
            <a:endParaRPr lang="tr-TR" sz="1160" b="1">
              <a:latin typeface="Sofia Sans" panose="020B0604020202020204" charset="0"/>
              <a:ea typeface="Times New Roman" panose="02020603050405020304" pitchFamily="18" charset="0"/>
            </a:endParaRPr>
          </a:p>
          <a:p>
            <a:pPr>
              <a:lnSpc>
                <a:spcPct val="100000"/>
              </a:lnSpc>
            </a:pPr>
            <a:r>
              <a:rPr lang="en-US" sz="1160" b="1">
                <a:effectLst/>
                <a:latin typeface="Sofia Sans" panose="020B0604020202020204" charset="0"/>
                <a:ea typeface="Times New Roman" panose="02020603050405020304" pitchFamily="18" charset="0"/>
              </a:rPr>
              <a:t>household consumes 400 kWh of energy monthly</a:t>
            </a:r>
            <a:endParaRPr lang="tr-TR" sz="1160" b="1">
              <a:effectLst/>
              <a:latin typeface="Sofia Sans" panose="020B0604020202020204" charset="0"/>
              <a:ea typeface="Times New Roman" panose="02020603050405020304" pitchFamily="18" charset="0"/>
            </a:endParaRPr>
          </a:p>
          <a:p>
            <a:pPr>
              <a:lnSpc>
                <a:spcPct val="100000"/>
              </a:lnSpc>
            </a:pPr>
            <a:endParaRPr lang="en-US" sz="1160" b="1">
              <a:effectLst/>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 Calculate the potential energy production for each system assuming they operate at</a:t>
            </a:r>
            <a:endParaRPr lang="tr-TR" sz="1160">
              <a:effectLst/>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100% efficiency under ideal conditions. (Use 4 hours 30 minutes for lower estimation</a:t>
            </a:r>
            <a:endParaRPr lang="tr-TR" sz="1160">
              <a:effectLst/>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and 8 hours for higher estimation)</a:t>
            </a:r>
          </a:p>
          <a:p>
            <a:pPr>
              <a:lnSpc>
                <a:spcPct val="100000"/>
              </a:lnSpc>
            </a:pPr>
            <a:r>
              <a:rPr lang="en-US" sz="1160">
                <a:effectLst/>
                <a:latin typeface="Sofia Sans" panose="020B0604020202020204" charset="0"/>
                <a:ea typeface="Times New Roman" panose="02020603050405020304" pitchFamily="18" charset="0"/>
              </a:rPr>
              <a:t>• Determine the daily and monthly energy production for each system. </a:t>
            </a:r>
            <a:br>
              <a:rPr lang="tr-TR" sz="1160">
                <a:effectLst/>
                <a:latin typeface="Sofia Sans" panose="020B0604020202020204" charset="0"/>
                <a:ea typeface="Times New Roman" panose="02020603050405020304" pitchFamily="18" charset="0"/>
              </a:rPr>
            </a:br>
            <a:r>
              <a:rPr lang="tr-TR" sz="1160">
                <a:effectLst/>
                <a:latin typeface="Sofia Sans" panose="020B0604020202020204" charset="0"/>
                <a:ea typeface="Times New Roman" panose="02020603050405020304" pitchFamily="18" charset="0"/>
              </a:rPr>
              <a:t>(</a:t>
            </a:r>
            <a:r>
              <a:rPr lang="tr-TR" sz="1160">
                <a:latin typeface="Sofia Sans" panose="020B0604020202020204" charset="0"/>
                <a:ea typeface="Times New Roman" panose="02020603050405020304" pitchFamily="18" charset="0"/>
              </a:rPr>
              <a:t>T</a:t>
            </a:r>
            <a:r>
              <a:rPr lang="tr-TR" sz="1160">
                <a:effectLst/>
                <a:latin typeface="Sofia Sans" panose="020B0604020202020204" charset="0"/>
                <a:ea typeface="Times New Roman" panose="02020603050405020304" pitchFamily="18" charset="0"/>
              </a:rPr>
              <a:t>ake 1 year=12 </a:t>
            </a:r>
            <a:r>
              <a:rPr lang="tr-TR" sz="1160">
                <a:latin typeface="Sofia Sans" panose="020B0604020202020204" charset="0"/>
                <a:ea typeface="Times New Roman" panose="02020603050405020304" pitchFamily="18" charset="0"/>
              </a:rPr>
              <a:t>m</a:t>
            </a:r>
            <a:r>
              <a:rPr lang="tr-TR" sz="1160">
                <a:effectLst/>
                <a:latin typeface="Sofia Sans" panose="020B0604020202020204" charset="0"/>
                <a:ea typeface="Times New Roman" panose="02020603050405020304" pitchFamily="18" charset="0"/>
              </a:rPr>
              <a:t>onths, 1 month</a:t>
            </a:r>
            <a:r>
              <a:rPr lang="tr-TR" sz="1160">
                <a:latin typeface="Sofia Sans" panose="020B0604020202020204" charset="0"/>
                <a:ea typeface="Times New Roman" panose="02020603050405020304" pitchFamily="18" charset="0"/>
              </a:rPr>
              <a:t>= 30 days)</a:t>
            </a:r>
            <a:endParaRPr lang="tr-TR" sz="1160">
              <a:effectLst/>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 Calculate the cost savings based on the electricity prices in Ghana. (mentioned in Task</a:t>
            </a:r>
            <a:endParaRPr lang="tr-TR" sz="1160">
              <a:effectLst/>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3, part 1.2)</a:t>
            </a:r>
          </a:p>
          <a:p>
            <a:pPr marL="139700" indent="0"/>
            <a:endParaRPr lang="tr-TR" sz="1160" b="1" i="1">
              <a:latin typeface="Sofia Sans" panose="020B0604020202020204" charset="0"/>
            </a:endParaRPr>
          </a:p>
        </p:txBody>
      </p:sp>
      <p:sp>
        <p:nvSpPr>
          <p:cNvPr id="10" name="Rechteck 11">
            <a:extLst>
              <a:ext uri="{FF2B5EF4-FFF2-40B4-BE49-F238E27FC236}">
                <a16:creationId xmlns:a16="http://schemas.microsoft.com/office/drawing/2014/main" id="{3D7D76C0-A1A1-09C7-A58A-91EEEC38AF37}"/>
              </a:ext>
            </a:extLst>
          </p:cNvPr>
          <p:cNvSpPr/>
          <p:nvPr/>
        </p:nvSpPr>
        <p:spPr>
          <a:xfrm>
            <a:off x="735782" y="7182198"/>
            <a:ext cx="5921208" cy="2863172"/>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Untertitel 5">
            <a:extLst>
              <a:ext uri="{FF2B5EF4-FFF2-40B4-BE49-F238E27FC236}">
                <a16:creationId xmlns:a16="http://schemas.microsoft.com/office/drawing/2014/main" id="{D2642FDE-AEE1-32C5-2B03-CA94295591B2}"/>
              </a:ext>
            </a:extLst>
          </p:cNvPr>
          <p:cNvSpPr txBox="1">
            <a:spLocks/>
          </p:cNvSpPr>
          <p:nvPr/>
        </p:nvSpPr>
        <p:spPr>
          <a:xfrm>
            <a:off x="621480" y="7198897"/>
            <a:ext cx="4911727" cy="2541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tr-TR" sz="1100" err="1"/>
              <a:t>Calculations</a:t>
            </a:r>
            <a:r>
              <a:rPr lang="tr-TR" sz="1100"/>
              <a:t>:</a:t>
            </a:r>
            <a:endParaRPr lang="de-DE" sz="1100"/>
          </a:p>
        </p:txBody>
      </p:sp>
    </p:spTree>
    <p:extLst>
      <p:ext uri="{BB962C8B-B14F-4D97-AF65-F5344CB8AC3E}">
        <p14:creationId xmlns:p14="http://schemas.microsoft.com/office/powerpoint/2010/main" val="33476627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32504E7-99D7-781A-5C41-F6DBFA9AC391}"/>
              </a:ext>
            </a:extLst>
          </p:cNvPr>
          <p:cNvSpPr>
            <a:spLocks noGrp="1"/>
          </p:cNvSpPr>
          <p:nvPr>
            <p:ph type="sldNum" sz="quarter" idx="10"/>
          </p:nvPr>
        </p:nvSpPr>
        <p:spPr/>
        <p:txBody>
          <a:bodyPr/>
          <a:lstStyle/>
          <a:p>
            <a:fld id="{DF7F771E-9578-4C04-B869-01AF4C35C90C}" type="slidenum">
              <a:rPr lang="de-DE" smtClean="0"/>
              <a:t>79</a:t>
            </a:fld>
            <a:endParaRPr lang="de-DE"/>
          </a:p>
        </p:txBody>
      </p:sp>
      <p:sp>
        <p:nvSpPr>
          <p:cNvPr id="8" name="TextBox 7">
            <a:extLst>
              <a:ext uri="{FF2B5EF4-FFF2-40B4-BE49-F238E27FC236}">
                <a16:creationId xmlns:a16="http://schemas.microsoft.com/office/drawing/2014/main" id="{270FDF65-80AC-E5F0-9FB1-59A0302265E5}"/>
              </a:ext>
            </a:extLst>
          </p:cNvPr>
          <p:cNvSpPr txBox="1"/>
          <p:nvPr/>
        </p:nvSpPr>
        <p:spPr>
          <a:xfrm>
            <a:off x="723446" y="3089750"/>
            <a:ext cx="4332848" cy="270843"/>
          </a:xfrm>
          <a:prstGeom prst="rect">
            <a:avLst/>
          </a:prstGeom>
          <a:noFill/>
        </p:spPr>
        <p:txBody>
          <a:bodyPr wrap="square">
            <a:spAutoFit/>
          </a:bodyPr>
          <a:lstStyle/>
          <a:p>
            <a:r>
              <a:rPr lang="en-US" sz="1160" b="1">
                <a:solidFill>
                  <a:schemeClr val="accent2"/>
                </a:solidFill>
                <a:latin typeface="Sofia Sans" panose="020B0604020202020204" charset="0"/>
              </a:rPr>
              <a:t>4</a:t>
            </a:r>
            <a:r>
              <a:rPr lang="tr-TR" sz="1160" b="1">
                <a:solidFill>
                  <a:schemeClr val="accent2"/>
                </a:solidFill>
                <a:latin typeface="Sofia Sans" panose="020B0604020202020204" charset="0"/>
              </a:rPr>
              <a:t>.2 </a:t>
            </a:r>
            <a:r>
              <a:rPr lang="en-US" sz="1160" b="1" i="1">
                <a:solidFill>
                  <a:schemeClr val="dk1"/>
                </a:solidFill>
                <a:latin typeface="Sofia Sans" panose="020B0604020202020204" charset="0"/>
                <a:sym typeface="Sofia Sans"/>
              </a:rPr>
              <a:t>Investment Cost and Payback Period:</a:t>
            </a:r>
            <a:endParaRPr lang="en-US" b="1">
              <a:latin typeface="Sofia Sans" panose="020B0604020202020204" charset="0"/>
            </a:endParaRPr>
          </a:p>
        </p:txBody>
      </p:sp>
      <p:sp>
        <p:nvSpPr>
          <p:cNvPr id="9" name="Untertitel 3">
            <a:extLst>
              <a:ext uri="{FF2B5EF4-FFF2-40B4-BE49-F238E27FC236}">
                <a16:creationId xmlns:a16="http://schemas.microsoft.com/office/drawing/2014/main" id="{AD3FA64A-154C-8A63-3FEE-2DE8A03FDA9F}"/>
              </a:ext>
            </a:extLst>
          </p:cNvPr>
          <p:cNvSpPr txBox="1">
            <a:spLocks/>
          </p:cNvSpPr>
          <p:nvPr/>
        </p:nvSpPr>
        <p:spPr>
          <a:xfrm>
            <a:off x="719138" y="3089749"/>
            <a:ext cx="5921208" cy="110431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00000"/>
              </a:lnSpc>
            </a:pPr>
            <a:endParaRPr lang="en-US" sz="1160">
              <a:effectLst/>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	Consider the initial investment cost of each PV system and calculate the payback period for each system</a:t>
            </a:r>
            <a:r>
              <a:rPr lang="tr-TR" sz="1160">
                <a:effectLst/>
                <a:latin typeface="Sofia Sans" panose="020B0604020202020204" charset="0"/>
                <a:ea typeface="Times New Roman" panose="02020603050405020304" pitchFamily="18" charset="0"/>
              </a:rPr>
              <a:t> (</a:t>
            </a:r>
            <a:r>
              <a:rPr lang="tr-TR" sz="1160" err="1">
                <a:effectLst/>
                <a:latin typeface="Sofia Sans" panose="020B0604020202020204" charset="0"/>
                <a:ea typeface="Times New Roman" panose="02020603050405020304" pitchFamily="18" charset="0"/>
              </a:rPr>
              <a:t>Take</a:t>
            </a:r>
            <a:r>
              <a:rPr lang="tr-TR" sz="1160">
                <a:effectLst/>
                <a:latin typeface="Sofia Sans" panose="020B0604020202020204" charset="0"/>
                <a:ea typeface="Times New Roman" panose="02020603050405020304" pitchFamily="18" charset="0"/>
              </a:rPr>
              <a:t> 1 </a:t>
            </a:r>
            <a:r>
              <a:rPr lang="tr-TR" sz="1160" err="1">
                <a:effectLst/>
                <a:latin typeface="Sofia Sans" panose="020B0604020202020204" charset="0"/>
                <a:ea typeface="Times New Roman" panose="02020603050405020304" pitchFamily="18" charset="0"/>
              </a:rPr>
              <a:t>year</a:t>
            </a:r>
            <a:r>
              <a:rPr lang="tr-TR" sz="1160">
                <a:effectLst/>
                <a:latin typeface="Sofia Sans" panose="020B0604020202020204" charset="0"/>
                <a:ea typeface="Times New Roman" panose="02020603050405020304" pitchFamily="18" charset="0"/>
              </a:rPr>
              <a:t>=12 </a:t>
            </a:r>
            <a:r>
              <a:rPr lang="tr-TR" sz="1160" err="1">
                <a:latin typeface="Sofia Sans" panose="020B0604020202020204" charset="0"/>
                <a:ea typeface="Times New Roman" panose="02020603050405020304" pitchFamily="18" charset="0"/>
              </a:rPr>
              <a:t>m</a:t>
            </a:r>
            <a:r>
              <a:rPr lang="tr-TR" sz="1160" err="1">
                <a:effectLst/>
                <a:latin typeface="Sofia Sans" panose="020B0604020202020204" charset="0"/>
                <a:ea typeface="Times New Roman" panose="02020603050405020304" pitchFamily="18" charset="0"/>
              </a:rPr>
              <a:t>onths</a:t>
            </a:r>
            <a:r>
              <a:rPr lang="tr-TR" sz="1160">
                <a:effectLst/>
                <a:latin typeface="Sofia Sans" panose="020B0604020202020204" charset="0"/>
                <a:ea typeface="Times New Roman" panose="02020603050405020304" pitchFamily="18" charset="0"/>
              </a:rPr>
              <a:t>, 1 </a:t>
            </a:r>
            <a:r>
              <a:rPr lang="tr-TR" sz="1160" err="1">
                <a:effectLst/>
                <a:latin typeface="Sofia Sans" panose="020B0604020202020204" charset="0"/>
                <a:ea typeface="Times New Roman" panose="02020603050405020304" pitchFamily="18" charset="0"/>
              </a:rPr>
              <a:t>month</a:t>
            </a:r>
            <a:r>
              <a:rPr lang="tr-TR" sz="1160">
                <a:latin typeface="Sofia Sans" panose="020B0604020202020204" charset="0"/>
                <a:ea typeface="Times New Roman" panose="02020603050405020304" pitchFamily="18" charset="0"/>
              </a:rPr>
              <a:t>= 30 </a:t>
            </a:r>
            <a:r>
              <a:rPr lang="tr-TR" sz="1160" err="1">
                <a:latin typeface="Sofia Sans" panose="020B0604020202020204" charset="0"/>
                <a:ea typeface="Times New Roman" panose="02020603050405020304" pitchFamily="18" charset="0"/>
              </a:rPr>
              <a:t>days</a:t>
            </a:r>
            <a:r>
              <a:rPr lang="tr-TR" sz="1160">
                <a:latin typeface="Sofia Sans" panose="020B0604020202020204" charset="0"/>
                <a:ea typeface="Times New Roman" panose="02020603050405020304" pitchFamily="18" charset="0"/>
              </a:rPr>
              <a:t>)</a:t>
            </a:r>
            <a:endParaRPr lang="en-US" sz="1160">
              <a:effectLst/>
              <a:latin typeface="Sofia Sans" panose="020B0604020202020204" charset="0"/>
              <a:ea typeface="Times New Roman" panose="02020603050405020304" pitchFamily="18" charset="0"/>
            </a:endParaRPr>
          </a:p>
          <a:p>
            <a:pPr>
              <a:lnSpc>
                <a:spcPct val="100000"/>
              </a:lnSpc>
            </a:pPr>
            <a:r>
              <a:rPr lang="en-US" sz="1160">
                <a:effectLst/>
                <a:latin typeface="Sofia Sans" panose="020B0604020202020204" charset="0"/>
                <a:ea typeface="Times New Roman" panose="02020603050405020304" pitchFamily="18" charset="0"/>
              </a:rPr>
              <a:t>•	From the results discuss and decide which household should choose which system. Fill in the table below</a:t>
            </a:r>
          </a:p>
          <a:p>
            <a:pPr marL="139700" indent="0"/>
            <a:endParaRPr lang="tr-TR" sz="1160" b="1" i="1">
              <a:latin typeface="Sofia Sans" panose="020B0604020202020204" charset="0"/>
            </a:endParaRPr>
          </a:p>
        </p:txBody>
      </p:sp>
      <p:sp>
        <p:nvSpPr>
          <p:cNvPr id="10" name="Rechteck 11">
            <a:extLst>
              <a:ext uri="{FF2B5EF4-FFF2-40B4-BE49-F238E27FC236}">
                <a16:creationId xmlns:a16="http://schemas.microsoft.com/office/drawing/2014/main" id="{3D7D76C0-A1A1-09C7-A58A-91EEEC38AF37}"/>
              </a:ext>
            </a:extLst>
          </p:cNvPr>
          <p:cNvSpPr/>
          <p:nvPr/>
        </p:nvSpPr>
        <p:spPr>
          <a:xfrm>
            <a:off x="719138" y="1287233"/>
            <a:ext cx="5921208" cy="1742991"/>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Untertitel 5">
            <a:extLst>
              <a:ext uri="{FF2B5EF4-FFF2-40B4-BE49-F238E27FC236}">
                <a16:creationId xmlns:a16="http://schemas.microsoft.com/office/drawing/2014/main" id="{D2642FDE-AEE1-32C5-2B03-CA94295591B2}"/>
              </a:ext>
            </a:extLst>
          </p:cNvPr>
          <p:cNvSpPr txBox="1">
            <a:spLocks/>
          </p:cNvSpPr>
          <p:nvPr/>
        </p:nvSpPr>
        <p:spPr>
          <a:xfrm>
            <a:off x="604836" y="1315405"/>
            <a:ext cx="4911727" cy="2541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tr-TR" sz="1100" err="1"/>
              <a:t>Calculations</a:t>
            </a:r>
            <a:r>
              <a:rPr lang="tr-TR" sz="1100"/>
              <a:t> (</a:t>
            </a:r>
            <a:r>
              <a:rPr lang="tr-TR" sz="1100" err="1"/>
              <a:t>continued</a:t>
            </a:r>
            <a:r>
              <a:rPr lang="tr-TR" sz="1100"/>
              <a:t>):</a:t>
            </a:r>
            <a:endParaRPr lang="de-DE" sz="1100"/>
          </a:p>
        </p:txBody>
      </p:sp>
      <p:sp>
        <p:nvSpPr>
          <p:cNvPr id="2" name="Rechteck 11">
            <a:extLst>
              <a:ext uri="{FF2B5EF4-FFF2-40B4-BE49-F238E27FC236}">
                <a16:creationId xmlns:a16="http://schemas.microsoft.com/office/drawing/2014/main" id="{8EF3C3A2-E90C-B633-49EA-8282876DFFF0}"/>
              </a:ext>
            </a:extLst>
          </p:cNvPr>
          <p:cNvSpPr/>
          <p:nvPr/>
        </p:nvSpPr>
        <p:spPr>
          <a:xfrm>
            <a:off x="719138" y="4194068"/>
            <a:ext cx="5921208" cy="4142064"/>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Untertitel 5">
            <a:extLst>
              <a:ext uri="{FF2B5EF4-FFF2-40B4-BE49-F238E27FC236}">
                <a16:creationId xmlns:a16="http://schemas.microsoft.com/office/drawing/2014/main" id="{22D3758C-D1E5-C4C4-DC3D-0864FB3F4DE1}"/>
              </a:ext>
            </a:extLst>
          </p:cNvPr>
          <p:cNvSpPr txBox="1">
            <a:spLocks/>
          </p:cNvSpPr>
          <p:nvPr/>
        </p:nvSpPr>
        <p:spPr>
          <a:xfrm>
            <a:off x="604836" y="4230079"/>
            <a:ext cx="4911727" cy="2541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tr-TR" sz="1100" err="1"/>
              <a:t>Calculations</a:t>
            </a:r>
            <a:r>
              <a:rPr lang="tr-TR" sz="1100"/>
              <a:t>:</a:t>
            </a:r>
            <a:endParaRPr lang="de-DE" sz="1100"/>
          </a:p>
        </p:txBody>
      </p:sp>
      <p:graphicFrame>
        <p:nvGraphicFramePr>
          <p:cNvPr id="5" name="Google Shape;630;p38">
            <a:extLst>
              <a:ext uri="{FF2B5EF4-FFF2-40B4-BE49-F238E27FC236}">
                <a16:creationId xmlns:a16="http://schemas.microsoft.com/office/drawing/2014/main" id="{55EC690C-8CE2-F38C-6CBA-0135DEF7CFEF}"/>
              </a:ext>
            </a:extLst>
          </p:cNvPr>
          <p:cNvGraphicFramePr/>
          <p:nvPr>
            <p:extLst>
              <p:ext uri="{D42A27DB-BD31-4B8C-83A1-F6EECF244321}">
                <p14:modId xmlns:p14="http://schemas.microsoft.com/office/powerpoint/2010/main" val="2221679259"/>
              </p:ext>
            </p:extLst>
          </p:nvPr>
        </p:nvGraphicFramePr>
        <p:xfrm>
          <a:off x="719138" y="8569245"/>
          <a:ext cx="5921208" cy="1200723"/>
        </p:xfrm>
        <a:graphic>
          <a:graphicData uri="http://schemas.openxmlformats.org/drawingml/2006/table">
            <a:tbl>
              <a:tblPr>
                <a:noFill/>
                <a:tableStyleId>{F0CFADBD-3245-443C-9B6D-9ACBA4CA32A5}</a:tableStyleId>
              </a:tblPr>
              <a:tblGrid>
                <a:gridCol w="2960604">
                  <a:extLst>
                    <a:ext uri="{9D8B030D-6E8A-4147-A177-3AD203B41FA5}">
                      <a16:colId xmlns:a16="http://schemas.microsoft.com/office/drawing/2014/main" val="20000"/>
                    </a:ext>
                  </a:extLst>
                </a:gridCol>
                <a:gridCol w="2960604">
                  <a:extLst>
                    <a:ext uri="{9D8B030D-6E8A-4147-A177-3AD203B41FA5}">
                      <a16:colId xmlns:a16="http://schemas.microsoft.com/office/drawing/2014/main" val="20001"/>
                    </a:ext>
                  </a:extLst>
                </a:gridCol>
              </a:tblGrid>
              <a:tr h="489765">
                <a:tc>
                  <a:txBody>
                    <a:bodyPr/>
                    <a:lstStyle/>
                    <a:p>
                      <a:pPr marL="0" marR="0" lvl="0" indent="0" algn="ctr" rtl="0">
                        <a:lnSpc>
                          <a:spcPct val="115000"/>
                        </a:lnSpc>
                        <a:spcBef>
                          <a:spcPts val="0"/>
                        </a:spcBef>
                        <a:spcAft>
                          <a:spcPts val="0"/>
                        </a:spcAft>
                        <a:buClr>
                          <a:srgbClr val="000000"/>
                        </a:buClr>
                        <a:buFont typeface="Arial"/>
                        <a:buNone/>
                      </a:pPr>
                      <a:r>
                        <a:rPr lang="en-US" sz="1157" b="1" i="0" u="none" strike="noStrike" cap="none">
                          <a:solidFill>
                            <a:srgbClr val="000000"/>
                          </a:solidFill>
                          <a:effectLst/>
                          <a:latin typeface="Arial"/>
                          <a:ea typeface="Arial"/>
                          <a:cs typeface="Arial"/>
                          <a:sym typeface="Arial"/>
                        </a:rPr>
                        <a:t>Household</a:t>
                      </a:r>
                      <a:r>
                        <a:rPr lang="tr-TR" sz="1157" b="1" i="0" u="none" strike="noStrike" cap="none">
                          <a:solidFill>
                            <a:srgbClr val="000000"/>
                          </a:solidFill>
                          <a:effectLst/>
                          <a:latin typeface="Arial"/>
                          <a:ea typeface="Arial"/>
                          <a:cs typeface="Arial"/>
                          <a:sym typeface="Arial"/>
                        </a:rPr>
                        <a:t> </a:t>
                      </a:r>
                      <a:r>
                        <a:rPr lang="tr-TR" sz="1157" b="1" i="0" u="none" strike="noStrike" cap="none" err="1">
                          <a:solidFill>
                            <a:srgbClr val="000000"/>
                          </a:solidFill>
                          <a:effectLst/>
                          <a:latin typeface="Arial"/>
                          <a:ea typeface="Arial"/>
                          <a:cs typeface="Arial"/>
                          <a:sym typeface="Arial"/>
                        </a:rPr>
                        <a:t>with</a:t>
                      </a:r>
                      <a:r>
                        <a:rPr lang="en-US" sz="1157" b="1" i="0" u="none" strike="noStrike" cap="none">
                          <a:solidFill>
                            <a:srgbClr val="000000"/>
                          </a:solidFill>
                          <a:effectLst/>
                          <a:latin typeface="Arial"/>
                          <a:ea typeface="Arial"/>
                          <a:cs typeface="Arial"/>
                          <a:sym typeface="Arial"/>
                        </a:rPr>
                        <a:t> DSM </a:t>
                      </a:r>
                      <a:br>
                        <a:rPr lang="tr-TR" sz="1157" b="1" i="0" u="none" strike="noStrike" cap="none">
                          <a:solidFill>
                            <a:srgbClr val="000000"/>
                          </a:solidFill>
                          <a:effectLst/>
                          <a:latin typeface="Arial"/>
                          <a:ea typeface="Arial"/>
                          <a:cs typeface="Arial"/>
                          <a:sym typeface="Arial"/>
                        </a:rPr>
                      </a:br>
                      <a:r>
                        <a:rPr lang="tr-TR" sz="1157" b="1" i="0" u="none" strike="noStrike" cap="none" err="1">
                          <a:solidFill>
                            <a:srgbClr val="000000"/>
                          </a:solidFill>
                          <a:effectLst/>
                          <a:latin typeface="Arial"/>
                          <a:ea typeface="Arial"/>
                          <a:cs typeface="Arial"/>
                          <a:sym typeface="Arial"/>
                        </a:rPr>
                        <a:t>System</a:t>
                      </a:r>
                      <a:r>
                        <a:rPr lang="tr-TR" sz="1157" b="1" i="0" u="none" strike="noStrike" cap="none">
                          <a:solidFill>
                            <a:srgbClr val="000000"/>
                          </a:solidFill>
                          <a:effectLst/>
                          <a:latin typeface="Arial"/>
                          <a:ea typeface="Arial"/>
                          <a:cs typeface="Arial"/>
                          <a:sym typeface="Arial"/>
                        </a:rPr>
                        <a:t> </a:t>
                      </a:r>
                      <a:r>
                        <a:rPr lang="tr-TR" sz="1157" b="1" i="0" u="none" strike="noStrike" cap="none" err="1">
                          <a:solidFill>
                            <a:srgbClr val="000000"/>
                          </a:solidFill>
                          <a:effectLst/>
                          <a:latin typeface="Arial"/>
                          <a:ea typeface="Arial"/>
                          <a:cs typeface="Arial"/>
                          <a:sym typeface="Arial"/>
                        </a:rPr>
                        <a:t>Selection</a:t>
                      </a:r>
                      <a:endParaRPr lang="de-DE" sz="1157" b="1" i="0" u="none" strike="noStrike" cap="none">
                        <a:solidFill>
                          <a:srgbClr val="000000"/>
                        </a:solidFill>
                        <a:effectLst/>
                        <a:latin typeface="Arial"/>
                        <a:ea typeface="Epilogue"/>
                        <a:cs typeface="Arial"/>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en-US" sz="1157" b="1" i="0" u="none" strike="noStrike" cap="none">
                          <a:solidFill>
                            <a:srgbClr val="000000"/>
                          </a:solidFill>
                          <a:effectLst/>
                          <a:latin typeface="Arial"/>
                          <a:ea typeface="Arial"/>
                          <a:cs typeface="Arial"/>
                          <a:sym typeface="Arial"/>
                        </a:rPr>
                        <a:t>Household </a:t>
                      </a:r>
                      <a:r>
                        <a:rPr lang="tr-TR" sz="1157" b="1" i="0" u="none" strike="noStrike" cap="none" err="1">
                          <a:solidFill>
                            <a:srgbClr val="000000"/>
                          </a:solidFill>
                          <a:effectLst/>
                          <a:latin typeface="Arial"/>
                          <a:ea typeface="Arial"/>
                          <a:cs typeface="Arial"/>
                          <a:sym typeface="Arial"/>
                        </a:rPr>
                        <a:t>without</a:t>
                      </a:r>
                      <a:r>
                        <a:rPr lang="en-US" sz="1157" b="1" i="0" u="none" strike="noStrike" cap="none">
                          <a:solidFill>
                            <a:srgbClr val="000000"/>
                          </a:solidFill>
                          <a:effectLst/>
                          <a:latin typeface="Arial"/>
                          <a:ea typeface="Arial"/>
                          <a:cs typeface="Arial"/>
                          <a:sym typeface="Arial"/>
                        </a:rPr>
                        <a:t> DSM </a:t>
                      </a:r>
                      <a:endParaRPr lang="tr-TR" sz="1157" b="1" i="0" u="none" strike="noStrike" cap="none">
                        <a:solidFill>
                          <a:srgbClr val="000000"/>
                        </a:solidFill>
                        <a:effectLst/>
                        <a:latin typeface="Arial"/>
                        <a:ea typeface="Arial"/>
                        <a:cs typeface="Arial"/>
                        <a:sym typeface="Arial"/>
                      </a:endParaRPr>
                    </a:p>
                    <a:p>
                      <a:pPr marL="0" marR="0" lvl="0" indent="0" algn="ctr" rtl="0">
                        <a:lnSpc>
                          <a:spcPct val="115000"/>
                        </a:lnSpc>
                        <a:spcBef>
                          <a:spcPts val="0"/>
                        </a:spcBef>
                        <a:spcAft>
                          <a:spcPts val="0"/>
                        </a:spcAft>
                        <a:buClr>
                          <a:srgbClr val="000000"/>
                        </a:buClr>
                        <a:buFont typeface="Arial"/>
                        <a:buNone/>
                      </a:pPr>
                      <a:r>
                        <a:rPr lang="tr-TR" sz="1157" b="1" i="0" u="none" strike="noStrike" cap="none" err="1">
                          <a:solidFill>
                            <a:srgbClr val="000000"/>
                          </a:solidFill>
                          <a:effectLst/>
                          <a:latin typeface="Arial"/>
                          <a:ea typeface="Arial"/>
                          <a:cs typeface="Arial"/>
                          <a:sym typeface="Arial"/>
                        </a:rPr>
                        <a:t>System</a:t>
                      </a:r>
                      <a:r>
                        <a:rPr lang="tr-TR" sz="1157" b="1" i="0" u="none" strike="noStrike" cap="none">
                          <a:solidFill>
                            <a:srgbClr val="000000"/>
                          </a:solidFill>
                          <a:effectLst/>
                          <a:latin typeface="Arial"/>
                          <a:ea typeface="Arial"/>
                          <a:cs typeface="Arial"/>
                          <a:sym typeface="Arial"/>
                        </a:rPr>
                        <a:t> </a:t>
                      </a:r>
                      <a:r>
                        <a:rPr lang="tr-TR" sz="1157" b="1" i="0" u="none" strike="noStrike" cap="none" err="1">
                          <a:solidFill>
                            <a:srgbClr val="000000"/>
                          </a:solidFill>
                          <a:effectLst/>
                          <a:latin typeface="Arial"/>
                          <a:ea typeface="Arial"/>
                          <a:cs typeface="Arial"/>
                          <a:sym typeface="Arial"/>
                        </a:rPr>
                        <a:t>Selection</a:t>
                      </a:r>
                      <a:endParaRPr lang="de-DE" sz="1157" b="1" i="0" u="none" strike="noStrike" cap="none">
                        <a:solidFill>
                          <a:srgbClr val="000000"/>
                        </a:solidFill>
                        <a:effectLst/>
                        <a:latin typeface="Arial"/>
                        <a:ea typeface="Epilogue"/>
                        <a:cs typeface="Arial"/>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710958">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431272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3A5165-8DD7-B00A-7B51-96C83EC80066}"/>
              </a:ext>
            </a:extLst>
          </p:cNvPr>
          <p:cNvSpPr>
            <a:spLocks noGrp="1"/>
          </p:cNvSpPr>
          <p:nvPr>
            <p:ph type="title"/>
          </p:nvPr>
        </p:nvSpPr>
        <p:spPr/>
        <p:txBody>
          <a:bodyPr/>
          <a:lstStyle/>
          <a:p>
            <a:r>
              <a:rPr lang="de-DE" err="1"/>
              <a:t>How</a:t>
            </a:r>
            <a:r>
              <a:rPr lang="de-DE"/>
              <a:t> </a:t>
            </a:r>
            <a:r>
              <a:rPr lang="de-DE" err="1"/>
              <a:t>to</a:t>
            </a:r>
            <a:r>
              <a:rPr lang="de-DE"/>
              <a:t> </a:t>
            </a:r>
            <a:r>
              <a:rPr lang="de-DE" err="1"/>
              <a:t>use</a:t>
            </a:r>
            <a:r>
              <a:rPr lang="de-DE"/>
              <a:t> a Multimeter</a:t>
            </a:r>
          </a:p>
        </p:txBody>
      </p:sp>
      <p:sp>
        <p:nvSpPr>
          <p:cNvPr id="7" name="Foliennummernplatzhalter 6">
            <a:extLst>
              <a:ext uri="{FF2B5EF4-FFF2-40B4-BE49-F238E27FC236}">
                <a16:creationId xmlns:a16="http://schemas.microsoft.com/office/drawing/2014/main" id="{D2EB48A1-78C4-0F93-6100-E70083C9853E}"/>
              </a:ext>
            </a:extLst>
          </p:cNvPr>
          <p:cNvSpPr>
            <a:spLocks noGrp="1"/>
          </p:cNvSpPr>
          <p:nvPr>
            <p:ph type="sldNum" sz="quarter" idx="10"/>
          </p:nvPr>
        </p:nvSpPr>
        <p:spPr/>
        <p:txBody>
          <a:bodyPr/>
          <a:lstStyle/>
          <a:p>
            <a:fld id="{DF7F771E-9578-4C04-B869-01AF4C35C90C}" type="slidenum">
              <a:rPr lang="de-DE" smtClean="0"/>
              <a:t>8</a:t>
            </a:fld>
            <a:endParaRPr lang="de-DE"/>
          </a:p>
        </p:txBody>
      </p:sp>
      <p:grpSp>
        <p:nvGrpSpPr>
          <p:cNvPr id="4" name="Google Shape;736;p43">
            <a:extLst>
              <a:ext uri="{FF2B5EF4-FFF2-40B4-BE49-F238E27FC236}">
                <a16:creationId xmlns:a16="http://schemas.microsoft.com/office/drawing/2014/main" id="{B5C85380-1F79-1428-7E8B-6D4110420C15}"/>
              </a:ext>
            </a:extLst>
          </p:cNvPr>
          <p:cNvGrpSpPr/>
          <p:nvPr/>
        </p:nvGrpSpPr>
        <p:grpSpPr>
          <a:xfrm>
            <a:off x="719138" y="1886167"/>
            <a:ext cx="681823" cy="1083534"/>
            <a:chOff x="0" y="0"/>
            <a:chExt cx="789840" cy="1378440"/>
          </a:xfrm>
        </p:grpSpPr>
        <p:sp>
          <p:nvSpPr>
            <p:cNvPr id="5" name="Google Shape;737;p43">
              <a:extLst>
                <a:ext uri="{FF2B5EF4-FFF2-40B4-BE49-F238E27FC236}">
                  <a16:creationId xmlns:a16="http://schemas.microsoft.com/office/drawing/2014/main" id="{8B6CDC97-FD2E-E75A-FA82-08311065DAC7}"/>
                </a:ext>
              </a:extLst>
            </p:cNvPr>
            <p:cNvSpPr/>
            <p:nvPr/>
          </p:nvSpPr>
          <p:spPr>
            <a:xfrm>
              <a:off x="0" y="0"/>
              <a:ext cx="789840" cy="1106280"/>
            </a:xfrm>
            <a:custGeom>
              <a:avLst/>
              <a:gdLst/>
              <a:ahLst/>
              <a:cxnLst/>
              <a:rect l="l" t="t" r="r" b="b"/>
              <a:pathLst>
                <a:path w="2194" h="3073" extrusionOk="0">
                  <a:moveTo>
                    <a:pt x="263" y="1838"/>
                  </a:moveTo>
                  <a:lnTo>
                    <a:pt x="263" y="1838"/>
                  </a:lnTo>
                  <a:cubicBezTo>
                    <a:pt x="109" y="1653"/>
                    <a:pt x="0" y="1406"/>
                    <a:pt x="0" y="1128"/>
                  </a:cubicBezTo>
                  <a:cubicBezTo>
                    <a:pt x="0" y="525"/>
                    <a:pt x="465" y="46"/>
                    <a:pt x="1051" y="0"/>
                  </a:cubicBezTo>
                  <a:cubicBezTo>
                    <a:pt x="1144" y="0"/>
                    <a:pt x="1144" y="0"/>
                    <a:pt x="1144" y="0"/>
                  </a:cubicBezTo>
                  <a:cubicBezTo>
                    <a:pt x="1731" y="46"/>
                    <a:pt x="2194" y="525"/>
                    <a:pt x="2194" y="1128"/>
                  </a:cubicBezTo>
                  <a:cubicBezTo>
                    <a:pt x="2194" y="1406"/>
                    <a:pt x="2086" y="1653"/>
                    <a:pt x="1931" y="1838"/>
                  </a:cubicBezTo>
                  <a:lnTo>
                    <a:pt x="1931" y="1838"/>
                  </a:lnTo>
                  <a:cubicBezTo>
                    <a:pt x="1931" y="1838"/>
                    <a:pt x="1654" y="2563"/>
                    <a:pt x="1700" y="2857"/>
                  </a:cubicBezTo>
                  <a:cubicBezTo>
                    <a:pt x="1715" y="2873"/>
                    <a:pt x="1731" y="2902"/>
                    <a:pt x="1731" y="2919"/>
                  </a:cubicBezTo>
                  <a:cubicBezTo>
                    <a:pt x="1731" y="2950"/>
                    <a:pt x="1731" y="2950"/>
                    <a:pt x="1731" y="2950"/>
                  </a:cubicBezTo>
                  <a:cubicBezTo>
                    <a:pt x="1731" y="3027"/>
                    <a:pt x="1669" y="3073"/>
                    <a:pt x="1592" y="3073"/>
                  </a:cubicBezTo>
                  <a:cubicBezTo>
                    <a:pt x="1098" y="3073"/>
                    <a:pt x="1098" y="3073"/>
                    <a:pt x="1098" y="3073"/>
                  </a:cubicBezTo>
                  <a:lnTo>
                    <a:pt x="1098" y="3073"/>
                  </a:lnTo>
                  <a:cubicBezTo>
                    <a:pt x="603" y="3073"/>
                    <a:pt x="603" y="3073"/>
                    <a:pt x="603" y="3073"/>
                  </a:cubicBezTo>
                  <a:cubicBezTo>
                    <a:pt x="525" y="3073"/>
                    <a:pt x="465" y="3027"/>
                    <a:pt x="465" y="2950"/>
                  </a:cubicBezTo>
                  <a:cubicBezTo>
                    <a:pt x="465" y="2919"/>
                    <a:pt x="465" y="2919"/>
                    <a:pt x="465" y="2919"/>
                  </a:cubicBezTo>
                  <a:cubicBezTo>
                    <a:pt x="465" y="2902"/>
                    <a:pt x="480" y="2873"/>
                    <a:pt x="494" y="2857"/>
                  </a:cubicBezTo>
                  <a:cubicBezTo>
                    <a:pt x="542" y="2563"/>
                    <a:pt x="263" y="1838"/>
                    <a:pt x="263" y="1838"/>
                  </a:cubicBezTo>
                  <a:close/>
                </a:path>
              </a:pathLst>
            </a:custGeom>
            <a:solidFill>
              <a:srgbClr val="CEA634"/>
            </a:solidFill>
            <a:ln>
              <a:noFill/>
            </a:ln>
          </p:spPr>
          <p:txBody>
            <a:bodyPr spcFirstLastPara="1" wrap="square" lIns="90000" tIns="45000" rIns="90000" bIns="45000" anchor="ctr" anchorCtr="1">
              <a:noAutofit/>
            </a:bodyPr>
            <a:lstStyle/>
            <a:p>
              <a:endParaRPr lang="de-DE"/>
            </a:p>
          </p:txBody>
        </p:sp>
        <p:sp>
          <p:nvSpPr>
            <p:cNvPr id="6" name="Google Shape;738;p43">
              <a:extLst>
                <a:ext uri="{FF2B5EF4-FFF2-40B4-BE49-F238E27FC236}">
                  <a16:creationId xmlns:a16="http://schemas.microsoft.com/office/drawing/2014/main" id="{445B668E-D3C7-55FD-92C0-6ED22761E9FE}"/>
                </a:ext>
              </a:extLst>
            </p:cNvPr>
            <p:cNvSpPr/>
            <p:nvPr/>
          </p:nvSpPr>
          <p:spPr>
            <a:xfrm>
              <a:off x="306000" y="705960"/>
              <a:ext cx="177840" cy="433800"/>
            </a:xfrm>
            <a:custGeom>
              <a:avLst/>
              <a:gdLst/>
              <a:ahLst/>
              <a:cxnLst/>
              <a:rect l="l" t="t" r="r" b="b"/>
              <a:pathLst>
                <a:path w="494" h="1205" extrusionOk="0">
                  <a:moveTo>
                    <a:pt x="494" y="958"/>
                  </a:moveTo>
                  <a:lnTo>
                    <a:pt x="494" y="958"/>
                  </a:lnTo>
                  <a:cubicBezTo>
                    <a:pt x="494" y="1097"/>
                    <a:pt x="386" y="1205"/>
                    <a:pt x="248" y="1205"/>
                  </a:cubicBezTo>
                  <a:lnTo>
                    <a:pt x="248" y="1205"/>
                  </a:lnTo>
                  <a:cubicBezTo>
                    <a:pt x="109" y="1205"/>
                    <a:pt x="0" y="1097"/>
                    <a:pt x="0" y="958"/>
                  </a:cubicBezTo>
                  <a:cubicBezTo>
                    <a:pt x="0" y="247"/>
                    <a:pt x="0" y="247"/>
                    <a:pt x="0" y="247"/>
                  </a:cubicBezTo>
                  <a:cubicBezTo>
                    <a:pt x="0" y="108"/>
                    <a:pt x="109" y="0"/>
                    <a:pt x="248" y="0"/>
                  </a:cubicBezTo>
                  <a:lnTo>
                    <a:pt x="248" y="0"/>
                  </a:lnTo>
                  <a:cubicBezTo>
                    <a:pt x="386" y="0"/>
                    <a:pt x="494" y="108"/>
                    <a:pt x="494" y="247"/>
                  </a:cubicBezTo>
                  <a:lnTo>
                    <a:pt x="494" y="958"/>
                  </a:lnTo>
                  <a:close/>
                </a:path>
              </a:pathLst>
            </a:custGeom>
            <a:solidFill>
              <a:srgbClr val="F5F3EF"/>
            </a:solidFill>
            <a:ln>
              <a:noFill/>
            </a:ln>
          </p:spPr>
          <p:txBody>
            <a:bodyPr spcFirstLastPara="1" wrap="square" lIns="90000" tIns="45000" rIns="90000" bIns="45000" anchor="ctr" anchorCtr="1">
              <a:noAutofit/>
            </a:bodyPr>
            <a:lstStyle/>
            <a:p>
              <a:endParaRPr lang="de-DE"/>
            </a:p>
          </p:txBody>
        </p:sp>
        <p:sp>
          <p:nvSpPr>
            <p:cNvPr id="8" name="Google Shape;739;p43">
              <a:extLst>
                <a:ext uri="{FF2B5EF4-FFF2-40B4-BE49-F238E27FC236}">
                  <a16:creationId xmlns:a16="http://schemas.microsoft.com/office/drawing/2014/main" id="{3A987905-292E-A4F9-2E07-B4E9F0025B5D}"/>
                </a:ext>
              </a:extLst>
            </p:cNvPr>
            <p:cNvSpPr/>
            <p:nvPr/>
          </p:nvSpPr>
          <p:spPr>
            <a:xfrm>
              <a:off x="255960" y="1311840"/>
              <a:ext cx="278280" cy="66600"/>
            </a:xfrm>
            <a:custGeom>
              <a:avLst/>
              <a:gdLst/>
              <a:ahLst/>
              <a:cxnLst/>
              <a:rect l="l" t="t" r="r" b="b"/>
              <a:pathLst>
                <a:path w="773" h="185" extrusionOk="0">
                  <a:moveTo>
                    <a:pt x="0" y="93"/>
                  </a:moveTo>
                  <a:lnTo>
                    <a:pt x="0" y="93"/>
                  </a:lnTo>
                  <a:cubicBezTo>
                    <a:pt x="0" y="139"/>
                    <a:pt x="170" y="185"/>
                    <a:pt x="387" y="185"/>
                  </a:cubicBezTo>
                  <a:cubicBezTo>
                    <a:pt x="604" y="185"/>
                    <a:pt x="773" y="139"/>
                    <a:pt x="773" y="93"/>
                  </a:cubicBezTo>
                  <a:cubicBezTo>
                    <a:pt x="773" y="47"/>
                    <a:pt x="604" y="0"/>
                    <a:pt x="387" y="0"/>
                  </a:cubicBezTo>
                  <a:cubicBezTo>
                    <a:pt x="170" y="0"/>
                    <a:pt x="0" y="47"/>
                    <a:pt x="0" y="93"/>
                  </a:cubicBezTo>
                  <a:close/>
                </a:path>
              </a:pathLst>
            </a:custGeom>
            <a:solidFill>
              <a:srgbClr val="333333"/>
            </a:solidFill>
            <a:ln>
              <a:noFill/>
            </a:ln>
          </p:spPr>
          <p:txBody>
            <a:bodyPr spcFirstLastPara="1" wrap="square" lIns="90000" tIns="21600" rIns="90000" bIns="21600" anchor="ctr" anchorCtr="1">
              <a:noAutofit/>
            </a:bodyPr>
            <a:lstStyle/>
            <a:p>
              <a:endParaRPr lang="de-DE"/>
            </a:p>
          </p:txBody>
        </p:sp>
        <p:sp>
          <p:nvSpPr>
            <p:cNvPr id="9" name="Google Shape;740;p43">
              <a:extLst>
                <a:ext uri="{FF2B5EF4-FFF2-40B4-BE49-F238E27FC236}">
                  <a16:creationId xmlns:a16="http://schemas.microsoft.com/office/drawing/2014/main" id="{D89EDD80-F857-6FEB-FBF2-91AA507EF78B}"/>
                </a:ext>
              </a:extLst>
            </p:cNvPr>
            <p:cNvSpPr/>
            <p:nvPr/>
          </p:nvSpPr>
          <p:spPr>
            <a:xfrm>
              <a:off x="183960" y="1100880"/>
              <a:ext cx="422640" cy="77400"/>
            </a:xfrm>
            <a:custGeom>
              <a:avLst/>
              <a:gdLst/>
              <a:ahLst/>
              <a:cxnLst/>
              <a:rect l="l" t="t" r="r" b="b"/>
              <a:pathLst>
                <a:path w="1174" h="215" extrusionOk="0">
                  <a:moveTo>
                    <a:pt x="1174" y="108"/>
                  </a:moveTo>
                  <a:lnTo>
                    <a:pt x="1174" y="108"/>
                  </a:lnTo>
                  <a:cubicBezTo>
                    <a:pt x="1174" y="169"/>
                    <a:pt x="1127" y="215"/>
                    <a:pt x="1081" y="215"/>
                  </a:cubicBezTo>
                  <a:cubicBezTo>
                    <a:pt x="92" y="215"/>
                    <a:pt x="92" y="215"/>
                    <a:pt x="92" y="215"/>
                  </a:cubicBezTo>
                  <a:cubicBezTo>
                    <a:pt x="46" y="215"/>
                    <a:pt x="0" y="169"/>
                    <a:pt x="0" y="108"/>
                  </a:cubicBezTo>
                  <a:cubicBezTo>
                    <a:pt x="0" y="92"/>
                    <a:pt x="0" y="92"/>
                    <a:pt x="0" y="77"/>
                  </a:cubicBezTo>
                  <a:cubicBezTo>
                    <a:pt x="14" y="30"/>
                    <a:pt x="46" y="0"/>
                    <a:pt x="92" y="0"/>
                  </a:cubicBezTo>
                  <a:cubicBezTo>
                    <a:pt x="1081" y="0"/>
                    <a:pt x="1081" y="0"/>
                    <a:pt x="1081" y="0"/>
                  </a:cubicBezTo>
                  <a:cubicBezTo>
                    <a:pt x="1096" y="0"/>
                    <a:pt x="1127" y="15"/>
                    <a:pt x="1143" y="30"/>
                  </a:cubicBezTo>
                  <a:cubicBezTo>
                    <a:pt x="1158" y="46"/>
                    <a:pt x="1174" y="61"/>
                    <a:pt x="1174" y="77"/>
                  </a:cubicBezTo>
                  <a:cubicBezTo>
                    <a:pt x="1174" y="92"/>
                    <a:pt x="1174" y="92"/>
                    <a:pt x="1174" y="108"/>
                  </a:cubicBezTo>
                  <a:close/>
                </a:path>
              </a:pathLst>
            </a:custGeom>
            <a:solidFill>
              <a:srgbClr val="BDC1C5"/>
            </a:solidFill>
            <a:ln>
              <a:noFill/>
            </a:ln>
          </p:spPr>
          <p:txBody>
            <a:bodyPr spcFirstLastPara="1" wrap="square" lIns="90000" tIns="32400" rIns="90000" bIns="32400" anchor="ctr" anchorCtr="1">
              <a:noAutofit/>
            </a:bodyPr>
            <a:lstStyle/>
            <a:p>
              <a:endParaRPr lang="de-DE"/>
            </a:p>
          </p:txBody>
        </p:sp>
        <p:sp>
          <p:nvSpPr>
            <p:cNvPr id="10" name="Google Shape;741;p43">
              <a:extLst>
                <a:ext uri="{FF2B5EF4-FFF2-40B4-BE49-F238E27FC236}">
                  <a16:creationId xmlns:a16="http://schemas.microsoft.com/office/drawing/2014/main" id="{AD8FEF17-C7F3-860B-9468-44B1B3E50F00}"/>
                </a:ext>
              </a:extLst>
            </p:cNvPr>
            <p:cNvSpPr/>
            <p:nvPr/>
          </p:nvSpPr>
          <p:spPr>
            <a:xfrm>
              <a:off x="183960" y="1178280"/>
              <a:ext cx="422640" cy="78120"/>
            </a:xfrm>
            <a:custGeom>
              <a:avLst/>
              <a:gdLst/>
              <a:ahLst/>
              <a:cxnLst/>
              <a:rect l="l" t="t" r="r" b="b"/>
              <a:pathLst>
                <a:path w="1174" h="217" extrusionOk="0">
                  <a:moveTo>
                    <a:pt x="1174" y="108"/>
                  </a:moveTo>
                  <a:lnTo>
                    <a:pt x="1174" y="108"/>
                  </a:lnTo>
                  <a:cubicBezTo>
                    <a:pt x="1174" y="171"/>
                    <a:pt x="1127" y="217"/>
                    <a:pt x="1081" y="217"/>
                  </a:cubicBezTo>
                  <a:cubicBezTo>
                    <a:pt x="92" y="217"/>
                    <a:pt x="92" y="217"/>
                    <a:pt x="92" y="217"/>
                  </a:cubicBezTo>
                  <a:cubicBezTo>
                    <a:pt x="46" y="217"/>
                    <a:pt x="0" y="171"/>
                    <a:pt x="0" y="108"/>
                  </a:cubicBezTo>
                  <a:cubicBezTo>
                    <a:pt x="0" y="94"/>
                    <a:pt x="0" y="94"/>
                    <a:pt x="0" y="79"/>
                  </a:cubicBezTo>
                  <a:cubicBezTo>
                    <a:pt x="14" y="31"/>
                    <a:pt x="46" y="0"/>
                    <a:pt x="92" y="0"/>
                  </a:cubicBezTo>
                  <a:cubicBezTo>
                    <a:pt x="1081" y="0"/>
                    <a:pt x="1081" y="0"/>
                    <a:pt x="1081" y="0"/>
                  </a:cubicBezTo>
                  <a:cubicBezTo>
                    <a:pt x="1096" y="0"/>
                    <a:pt x="1127" y="17"/>
                    <a:pt x="1143" y="31"/>
                  </a:cubicBezTo>
                  <a:cubicBezTo>
                    <a:pt x="1158" y="48"/>
                    <a:pt x="1174" y="63"/>
                    <a:pt x="1174" y="79"/>
                  </a:cubicBezTo>
                  <a:cubicBezTo>
                    <a:pt x="1174" y="94"/>
                    <a:pt x="1174" y="94"/>
                    <a:pt x="1174" y="108"/>
                  </a:cubicBezTo>
                  <a:close/>
                </a:path>
              </a:pathLst>
            </a:custGeom>
            <a:solidFill>
              <a:srgbClr val="BDC1C5"/>
            </a:solidFill>
            <a:ln>
              <a:noFill/>
            </a:ln>
          </p:spPr>
          <p:txBody>
            <a:bodyPr spcFirstLastPara="1" wrap="square" lIns="90000" tIns="33100" rIns="90000" bIns="33100" anchor="ctr" anchorCtr="1">
              <a:noAutofit/>
            </a:bodyPr>
            <a:lstStyle/>
            <a:p>
              <a:endParaRPr lang="de-DE"/>
            </a:p>
          </p:txBody>
        </p:sp>
        <p:sp>
          <p:nvSpPr>
            <p:cNvPr id="11" name="Google Shape;742;p43">
              <a:extLst>
                <a:ext uri="{FF2B5EF4-FFF2-40B4-BE49-F238E27FC236}">
                  <a16:creationId xmlns:a16="http://schemas.microsoft.com/office/drawing/2014/main" id="{30B04ABB-B78A-D7D6-01DA-075101690E90}"/>
                </a:ext>
              </a:extLst>
            </p:cNvPr>
            <p:cNvSpPr/>
            <p:nvPr/>
          </p:nvSpPr>
          <p:spPr>
            <a:xfrm>
              <a:off x="183960" y="1256400"/>
              <a:ext cx="422640" cy="77760"/>
            </a:xfrm>
            <a:custGeom>
              <a:avLst/>
              <a:gdLst/>
              <a:ahLst/>
              <a:cxnLst/>
              <a:rect l="l" t="t" r="r" b="b"/>
              <a:pathLst>
                <a:path w="1174" h="216" extrusionOk="0">
                  <a:moveTo>
                    <a:pt x="1174" y="108"/>
                  </a:moveTo>
                  <a:lnTo>
                    <a:pt x="1174" y="108"/>
                  </a:lnTo>
                  <a:cubicBezTo>
                    <a:pt x="1174" y="170"/>
                    <a:pt x="1127" y="216"/>
                    <a:pt x="1081" y="216"/>
                  </a:cubicBezTo>
                  <a:cubicBezTo>
                    <a:pt x="92" y="216"/>
                    <a:pt x="92" y="216"/>
                    <a:pt x="92" y="216"/>
                  </a:cubicBezTo>
                  <a:cubicBezTo>
                    <a:pt x="46" y="216"/>
                    <a:pt x="0" y="170"/>
                    <a:pt x="0" y="108"/>
                  </a:cubicBezTo>
                  <a:cubicBezTo>
                    <a:pt x="0" y="93"/>
                    <a:pt x="0" y="93"/>
                    <a:pt x="0" y="77"/>
                  </a:cubicBezTo>
                  <a:cubicBezTo>
                    <a:pt x="14" y="31"/>
                    <a:pt x="46" y="0"/>
                    <a:pt x="92" y="0"/>
                  </a:cubicBezTo>
                  <a:cubicBezTo>
                    <a:pt x="1081" y="0"/>
                    <a:pt x="1081" y="0"/>
                    <a:pt x="1081" y="0"/>
                  </a:cubicBezTo>
                  <a:cubicBezTo>
                    <a:pt x="1096" y="0"/>
                    <a:pt x="1127" y="16"/>
                    <a:pt x="1143" y="31"/>
                  </a:cubicBezTo>
                  <a:cubicBezTo>
                    <a:pt x="1158" y="47"/>
                    <a:pt x="1174" y="62"/>
                    <a:pt x="1174" y="77"/>
                  </a:cubicBezTo>
                  <a:cubicBezTo>
                    <a:pt x="1174" y="93"/>
                    <a:pt x="1174" y="93"/>
                    <a:pt x="1174" y="108"/>
                  </a:cubicBezTo>
                  <a:close/>
                </a:path>
              </a:pathLst>
            </a:custGeom>
            <a:solidFill>
              <a:srgbClr val="BDC1C5"/>
            </a:solidFill>
            <a:ln>
              <a:noFill/>
            </a:ln>
          </p:spPr>
          <p:txBody>
            <a:bodyPr spcFirstLastPara="1" wrap="square" lIns="90000" tIns="32750" rIns="90000" bIns="32750" anchor="ctr" anchorCtr="1">
              <a:noAutofit/>
            </a:bodyPr>
            <a:lstStyle/>
            <a:p>
              <a:endParaRPr lang="de-DE"/>
            </a:p>
          </p:txBody>
        </p:sp>
        <p:sp>
          <p:nvSpPr>
            <p:cNvPr id="12" name="Google Shape;743;p43">
              <a:extLst>
                <a:ext uri="{FF2B5EF4-FFF2-40B4-BE49-F238E27FC236}">
                  <a16:creationId xmlns:a16="http://schemas.microsoft.com/office/drawing/2014/main" id="{11FB9F20-E237-063A-5F99-AE758BBF744D}"/>
                </a:ext>
              </a:extLst>
            </p:cNvPr>
            <p:cNvSpPr/>
            <p:nvPr/>
          </p:nvSpPr>
          <p:spPr>
            <a:xfrm>
              <a:off x="122400" y="333720"/>
              <a:ext cx="545040" cy="767160"/>
            </a:xfrm>
            <a:custGeom>
              <a:avLst/>
              <a:gdLst/>
              <a:ahLst/>
              <a:cxnLst/>
              <a:rect l="l" t="t" r="r" b="b"/>
              <a:pathLst>
                <a:path w="1514" h="2131" extrusionOk="0">
                  <a:moveTo>
                    <a:pt x="1020" y="2131"/>
                  </a:moveTo>
                  <a:lnTo>
                    <a:pt x="1020" y="2131"/>
                  </a:lnTo>
                  <a:cubicBezTo>
                    <a:pt x="958" y="2131"/>
                    <a:pt x="958" y="2131"/>
                    <a:pt x="958" y="2131"/>
                  </a:cubicBezTo>
                  <a:cubicBezTo>
                    <a:pt x="975" y="1157"/>
                    <a:pt x="975" y="1157"/>
                    <a:pt x="975" y="1157"/>
                  </a:cubicBezTo>
                  <a:cubicBezTo>
                    <a:pt x="1345" y="279"/>
                    <a:pt x="1345" y="279"/>
                    <a:pt x="1345" y="279"/>
                  </a:cubicBezTo>
                  <a:cubicBezTo>
                    <a:pt x="1206" y="279"/>
                    <a:pt x="989" y="231"/>
                    <a:pt x="943" y="185"/>
                  </a:cubicBezTo>
                  <a:cubicBezTo>
                    <a:pt x="927" y="170"/>
                    <a:pt x="912" y="154"/>
                    <a:pt x="912" y="139"/>
                  </a:cubicBezTo>
                  <a:cubicBezTo>
                    <a:pt x="866" y="154"/>
                    <a:pt x="804" y="154"/>
                    <a:pt x="773" y="154"/>
                  </a:cubicBezTo>
                  <a:cubicBezTo>
                    <a:pt x="727" y="154"/>
                    <a:pt x="665" y="154"/>
                    <a:pt x="604" y="139"/>
                  </a:cubicBezTo>
                  <a:cubicBezTo>
                    <a:pt x="604" y="154"/>
                    <a:pt x="587" y="170"/>
                    <a:pt x="573" y="185"/>
                  </a:cubicBezTo>
                  <a:cubicBezTo>
                    <a:pt x="525" y="231"/>
                    <a:pt x="310" y="279"/>
                    <a:pt x="171" y="279"/>
                  </a:cubicBezTo>
                  <a:cubicBezTo>
                    <a:pt x="556" y="1157"/>
                    <a:pt x="556" y="1157"/>
                    <a:pt x="556" y="1157"/>
                  </a:cubicBezTo>
                  <a:cubicBezTo>
                    <a:pt x="556" y="2131"/>
                    <a:pt x="556" y="2131"/>
                    <a:pt x="556" y="2131"/>
                  </a:cubicBezTo>
                  <a:cubicBezTo>
                    <a:pt x="495" y="2131"/>
                    <a:pt x="495" y="2131"/>
                    <a:pt x="495" y="2131"/>
                  </a:cubicBezTo>
                  <a:cubicBezTo>
                    <a:pt x="495" y="1173"/>
                    <a:pt x="495" y="1173"/>
                    <a:pt x="495" y="1173"/>
                  </a:cubicBezTo>
                  <a:cubicBezTo>
                    <a:pt x="108" y="279"/>
                    <a:pt x="108" y="279"/>
                    <a:pt x="108" y="279"/>
                  </a:cubicBezTo>
                  <a:cubicBezTo>
                    <a:pt x="77" y="279"/>
                    <a:pt x="62" y="262"/>
                    <a:pt x="48" y="262"/>
                  </a:cubicBezTo>
                  <a:cubicBezTo>
                    <a:pt x="16" y="247"/>
                    <a:pt x="0" y="216"/>
                    <a:pt x="0" y="201"/>
                  </a:cubicBezTo>
                  <a:cubicBezTo>
                    <a:pt x="16" y="185"/>
                    <a:pt x="16" y="139"/>
                    <a:pt x="48" y="139"/>
                  </a:cubicBezTo>
                  <a:cubicBezTo>
                    <a:pt x="77" y="123"/>
                    <a:pt x="108" y="170"/>
                    <a:pt x="125" y="185"/>
                  </a:cubicBezTo>
                  <a:cubicBezTo>
                    <a:pt x="140" y="231"/>
                    <a:pt x="140" y="231"/>
                    <a:pt x="140" y="231"/>
                  </a:cubicBezTo>
                  <a:cubicBezTo>
                    <a:pt x="279" y="231"/>
                    <a:pt x="495" y="185"/>
                    <a:pt x="541" y="139"/>
                  </a:cubicBezTo>
                  <a:lnTo>
                    <a:pt x="556" y="123"/>
                  </a:lnTo>
                  <a:cubicBezTo>
                    <a:pt x="525" y="108"/>
                    <a:pt x="495" y="93"/>
                    <a:pt x="495" y="77"/>
                  </a:cubicBezTo>
                  <a:cubicBezTo>
                    <a:pt x="479" y="62"/>
                    <a:pt x="495" y="46"/>
                    <a:pt x="510" y="31"/>
                  </a:cubicBezTo>
                  <a:cubicBezTo>
                    <a:pt x="525" y="0"/>
                    <a:pt x="556" y="0"/>
                    <a:pt x="573" y="0"/>
                  </a:cubicBezTo>
                  <a:cubicBezTo>
                    <a:pt x="604" y="0"/>
                    <a:pt x="619" y="31"/>
                    <a:pt x="619" y="62"/>
                  </a:cubicBezTo>
                  <a:cubicBezTo>
                    <a:pt x="619" y="62"/>
                    <a:pt x="619" y="77"/>
                    <a:pt x="619" y="93"/>
                  </a:cubicBezTo>
                  <a:cubicBezTo>
                    <a:pt x="665" y="93"/>
                    <a:pt x="711" y="108"/>
                    <a:pt x="773" y="108"/>
                  </a:cubicBezTo>
                  <a:cubicBezTo>
                    <a:pt x="819" y="108"/>
                    <a:pt x="850" y="93"/>
                    <a:pt x="896" y="93"/>
                  </a:cubicBezTo>
                  <a:cubicBezTo>
                    <a:pt x="896" y="77"/>
                    <a:pt x="896" y="62"/>
                    <a:pt x="896" y="62"/>
                  </a:cubicBezTo>
                  <a:cubicBezTo>
                    <a:pt x="896" y="31"/>
                    <a:pt x="912" y="0"/>
                    <a:pt x="943" y="0"/>
                  </a:cubicBezTo>
                  <a:cubicBezTo>
                    <a:pt x="958" y="0"/>
                    <a:pt x="989" y="0"/>
                    <a:pt x="1004" y="31"/>
                  </a:cubicBezTo>
                  <a:cubicBezTo>
                    <a:pt x="1035" y="46"/>
                    <a:pt x="1020" y="62"/>
                    <a:pt x="1020" y="77"/>
                  </a:cubicBezTo>
                  <a:cubicBezTo>
                    <a:pt x="1020" y="93"/>
                    <a:pt x="989" y="108"/>
                    <a:pt x="958" y="123"/>
                  </a:cubicBezTo>
                  <a:lnTo>
                    <a:pt x="975" y="139"/>
                  </a:lnTo>
                  <a:cubicBezTo>
                    <a:pt x="1020" y="185"/>
                    <a:pt x="1237" y="231"/>
                    <a:pt x="1375" y="231"/>
                  </a:cubicBezTo>
                  <a:cubicBezTo>
                    <a:pt x="1391" y="185"/>
                    <a:pt x="1391" y="185"/>
                    <a:pt x="1391" y="185"/>
                  </a:cubicBezTo>
                  <a:cubicBezTo>
                    <a:pt x="1406" y="170"/>
                    <a:pt x="1437" y="123"/>
                    <a:pt x="1468" y="139"/>
                  </a:cubicBezTo>
                  <a:cubicBezTo>
                    <a:pt x="1500" y="139"/>
                    <a:pt x="1500" y="185"/>
                    <a:pt x="1514" y="201"/>
                  </a:cubicBezTo>
                  <a:cubicBezTo>
                    <a:pt x="1514" y="216"/>
                    <a:pt x="1500" y="247"/>
                    <a:pt x="1468" y="262"/>
                  </a:cubicBezTo>
                  <a:cubicBezTo>
                    <a:pt x="1452" y="262"/>
                    <a:pt x="1437" y="279"/>
                    <a:pt x="1406" y="279"/>
                  </a:cubicBezTo>
                  <a:cubicBezTo>
                    <a:pt x="1020" y="1173"/>
                    <a:pt x="1020" y="1173"/>
                    <a:pt x="1020" y="1173"/>
                  </a:cubicBezTo>
                  <a:lnTo>
                    <a:pt x="1020" y="2131"/>
                  </a:lnTo>
                  <a:moveTo>
                    <a:pt x="1452" y="185"/>
                  </a:moveTo>
                  <a:lnTo>
                    <a:pt x="1452" y="185"/>
                  </a:lnTo>
                  <a:cubicBezTo>
                    <a:pt x="1452" y="201"/>
                    <a:pt x="1437" y="201"/>
                    <a:pt x="1437" y="216"/>
                  </a:cubicBezTo>
                  <a:cubicBezTo>
                    <a:pt x="1452" y="216"/>
                    <a:pt x="1452" y="201"/>
                    <a:pt x="1452" y="201"/>
                  </a:cubicBezTo>
                  <a:lnTo>
                    <a:pt x="1452" y="185"/>
                  </a:lnTo>
                  <a:moveTo>
                    <a:pt x="62" y="185"/>
                  </a:moveTo>
                  <a:lnTo>
                    <a:pt x="62" y="185"/>
                  </a:lnTo>
                  <a:cubicBezTo>
                    <a:pt x="62" y="201"/>
                    <a:pt x="62" y="201"/>
                    <a:pt x="62" y="201"/>
                  </a:cubicBezTo>
                  <a:cubicBezTo>
                    <a:pt x="62" y="201"/>
                    <a:pt x="62" y="216"/>
                    <a:pt x="77" y="216"/>
                  </a:cubicBezTo>
                  <a:lnTo>
                    <a:pt x="77" y="216"/>
                  </a:lnTo>
                  <a:cubicBezTo>
                    <a:pt x="77" y="201"/>
                    <a:pt x="62" y="201"/>
                    <a:pt x="62" y="185"/>
                  </a:cubicBezTo>
                  <a:moveTo>
                    <a:pt x="958" y="46"/>
                  </a:moveTo>
                  <a:lnTo>
                    <a:pt x="958" y="46"/>
                  </a:lnTo>
                  <a:lnTo>
                    <a:pt x="958" y="46"/>
                  </a:lnTo>
                  <a:lnTo>
                    <a:pt x="943" y="62"/>
                  </a:lnTo>
                  <a:cubicBezTo>
                    <a:pt x="943" y="77"/>
                    <a:pt x="943" y="77"/>
                    <a:pt x="943" y="77"/>
                  </a:cubicBezTo>
                  <a:cubicBezTo>
                    <a:pt x="958" y="62"/>
                    <a:pt x="958" y="62"/>
                    <a:pt x="975" y="62"/>
                  </a:cubicBezTo>
                  <a:cubicBezTo>
                    <a:pt x="958" y="62"/>
                    <a:pt x="958" y="46"/>
                    <a:pt x="958" y="46"/>
                  </a:cubicBezTo>
                  <a:moveTo>
                    <a:pt x="541" y="62"/>
                  </a:moveTo>
                  <a:lnTo>
                    <a:pt x="541" y="62"/>
                  </a:lnTo>
                  <a:cubicBezTo>
                    <a:pt x="556" y="62"/>
                    <a:pt x="556" y="62"/>
                    <a:pt x="573" y="77"/>
                  </a:cubicBezTo>
                  <a:lnTo>
                    <a:pt x="573" y="62"/>
                  </a:lnTo>
                  <a:lnTo>
                    <a:pt x="556" y="46"/>
                  </a:lnTo>
                  <a:lnTo>
                    <a:pt x="541" y="62"/>
                  </a:lnTo>
                  <a:close/>
                </a:path>
              </a:pathLst>
            </a:custGeom>
            <a:solidFill>
              <a:srgbClr val="A15315"/>
            </a:solidFill>
            <a:ln>
              <a:noFill/>
            </a:ln>
          </p:spPr>
          <p:txBody>
            <a:bodyPr spcFirstLastPara="1" wrap="square" lIns="90000" tIns="45000" rIns="90000" bIns="45000" anchor="ctr" anchorCtr="1">
              <a:noAutofit/>
            </a:bodyPr>
            <a:lstStyle/>
            <a:p>
              <a:endParaRPr lang="de-DE"/>
            </a:p>
          </p:txBody>
        </p:sp>
        <p:sp>
          <p:nvSpPr>
            <p:cNvPr id="13" name="Google Shape;744;p43">
              <a:extLst>
                <a:ext uri="{FF2B5EF4-FFF2-40B4-BE49-F238E27FC236}">
                  <a16:creationId xmlns:a16="http://schemas.microsoft.com/office/drawing/2014/main" id="{0C27C940-E319-86DB-9BDB-3A018703C337}"/>
                </a:ext>
              </a:extLst>
            </p:cNvPr>
            <p:cNvSpPr/>
            <p:nvPr/>
          </p:nvSpPr>
          <p:spPr>
            <a:xfrm>
              <a:off x="333720" y="378000"/>
              <a:ext cx="50400" cy="194760"/>
            </a:xfrm>
            <a:custGeom>
              <a:avLst/>
              <a:gdLst/>
              <a:ahLst/>
              <a:cxnLst/>
              <a:rect l="l" t="t" r="r" b="b"/>
              <a:pathLst>
                <a:path w="140" h="541" extrusionOk="0">
                  <a:moveTo>
                    <a:pt x="78" y="541"/>
                  </a:moveTo>
                  <a:lnTo>
                    <a:pt x="0" y="16"/>
                  </a:lnTo>
                  <a:lnTo>
                    <a:pt x="46" y="0"/>
                  </a:lnTo>
                  <a:lnTo>
                    <a:pt x="140" y="541"/>
                  </a:lnTo>
                  <a:lnTo>
                    <a:pt x="78" y="541"/>
                  </a:lnTo>
                  <a:close/>
                </a:path>
              </a:pathLst>
            </a:custGeom>
            <a:solidFill>
              <a:srgbClr val="A15315"/>
            </a:solidFill>
            <a:ln>
              <a:noFill/>
            </a:ln>
          </p:spPr>
          <p:txBody>
            <a:bodyPr spcFirstLastPara="1" wrap="square" lIns="90000" tIns="45000" rIns="90000" bIns="45000" anchor="ctr" anchorCtr="1">
              <a:noAutofit/>
            </a:bodyPr>
            <a:lstStyle/>
            <a:p>
              <a:endParaRPr lang="de-DE"/>
            </a:p>
          </p:txBody>
        </p:sp>
        <p:sp>
          <p:nvSpPr>
            <p:cNvPr id="14" name="Google Shape;745;p43">
              <a:extLst>
                <a:ext uri="{FF2B5EF4-FFF2-40B4-BE49-F238E27FC236}">
                  <a16:creationId xmlns:a16="http://schemas.microsoft.com/office/drawing/2014/main" id="{67FEBB0D-D345-75CE-2467-90862F8CD441}"/>
                </a:ext>
              </a:extLst>
            </p:cNvPr>
            <p:cNvSpPr/>
            <p:nvPr/>
          </p:nvSpPr>
          <p:spPr>
            <a:xfrm>
              <a:off x="406440" y="378000"/>
              <a:ext cx="49680" cy="194760"/>
            </a:xfrm>
            <a:custGeom>
              <a:avLst/>
              <a:gdLst/>
              <a:ahLst/>
              <a:cxnLst/>
              <a:rect l="l" t="t" r="r" b="b"/>
              <a:pathLst>
                <a:path w="138" h="541" extrusionOk="0">
                  <a:moveTo>
                    <a:pt x="61" y="541"/>
                  </a:moveTo>
                  <a:lnTo>
                    <a:pt x="0" y="541"/>
                  </a:lnTo>
                  <a:lnTo>
                    <a:pt x="92" y="0"/>
                  </a:lnTo>
                  <a:lnTo>
                    <a:pt x="138" y="16"/>
                  </a:lnTo>
                  <a:lnTo>
                    <a:pt x="61" y="541"/>
                  </a:lnTo>
                  <a:close/>
                </a:path>
              </a:pathLst>
            </a:custGeom>
            <a:solidFill>
              <a:srgbClr val="A15315"/>
            </a:solidFill>
            <a:ln>
              <a:noFill/>
            </a:ln>
          </p:spPr>
          <p:txBody>
            <a:bodyPr spcFirstLastPara="1" wrap="square" lIns="90000" tIns="45000" rIns="90000" bIns="45000" anchor="ctr" anchorCtr="1">
              <a:noAutofit/>
            </a:bodyPr>
            <a:lstStyle/>
            <a:p>
              <a:endParaRPr lang="de-DE"/>
            </a:p>
          </p:txBody>
        </p:sp>
        <p:sp>
          <p:nvSpPr>
            <p:cNvPr id="15" name="Google Shape;746;p43">
              <a:extLst>
                <a:ext uri="{FF2B5EF4-FFF2-40B4-BE49-F238E27FC236}">
                  <a16:creationId xmlns:a16="http://schemas.microsoft.com/office/drawing/2014/main" id="{F784B3E2-E9EE-4D58-BC57-429016C640F6}"/>
                </a:ext>
              </a:extLst>
            </p:cNvPr>
            <p:cNvSpPr/>
            <p:nvPr/>
          </p:nvSpPr>
          <p:spPr>
            <a:xfrm>
              <a:off x="333720" y="550440"/>
              <a:ext cx="122400" cy="38880"/>
            </a:xfrm>
            <a:custGeom>
              <a:avLst/>
              <a:gdLst/>
              <a:ahLst/>
              <a:cxnLst/>
              <a:rect l="l" t="t" r="r" b="b"/>
              <a:pathLst>
                <a:path w="340" h="108" extrusionOk="0">
                  <a:moveTo>
                    <a:pt x="340" y="47"/>
                  </a:moveTo>
                  <a:lnTo>
                    <a:pt x="340" y="47"/>
                  </a:lnTo>
                  <a:cubicBezTo>
                    <a:pt x="340" y="77"/>
                    <a:pt x="309" y="108"/>
                    <a:pt x="279" y="108"/>
                  </a:cubicBezTo>
                  <a:cubicBezTo>
                    <a:pt x="63" y="108"/>
                    <a:pt x="63" y="108"/>
                    <a:pt x="63" y="108"/>
                  </a:cubicBezTo>
                  <a:cubicBezTo>
                    <a:pt x="32" y="108"/>
                    <a:pt x="0" y="77"/>
                    <a:pt x="0" y="47"/>
                  </a:cubicBezTo>
                  <a:lnTo>
                    <a:pt x="0" y="47"/>
                  </a:lnTo>
                  <a:cubicBezTo>
                    <a:pt x="0" y="31"/>
                    <a:pt x="32" y="0"/>
                    <a:pt x="63" y="0"/>
                  </a:cubicBezTo>
                  <a:cubicBezTo>
                    <a:pt x="279" y="0"/>
                    <a:pt x="279" y="0"/>
                    <a:pt x="279" y="0"/>
                  </a:cubicBezTo>
                  <a:cubicBezTo>
                    <a:pt x="309" y="0"/>
                    <a:pt x="340" y="31"/>
                    <a:pt x="340" y="47"/>
                  </a:cubicBezTo>
                  <a:close/>
                </a:path>
              </a:pathLst>
            </a:custGeom>
            <a:solidFill>
              <a:srgbClr val="F5F3EF"/>
            </a:solidFill>
            <a:ln>
              <a:noFill/>
            </a:ln>
          </p:spPr>
          <p:txBody>
            <a:bodyPr spcFirstLastPara="1" wrap="square" lIns="90000" tIns="0" rIns="90000" bIns="0" anchor="ctr" anchorCtr="1">
              <a:noAutofit/>
            </a:bodyPr>
            <a:lstStyle/>
            <a:p>
              <a:endParaRPr lang="de-DE"/>
            </a:p>
          </p:txBody>
        </p:sp>
        <p:sp>
          <p:nvSpPr>
            <p:cNvPr id="16" name="Google Shape;747;p43">
              <a:extLst>
                <a:ext uri="{FF2B5EF4-FFF2-40B4-BE49-F238E27FC236}">
                  <a16:creationId xmlns:a16="http://schemas.microsoft.com/office/drawing/2014/main" id="{553BB643-8389-7718-52EA-0A379637AF0A}"/>
                </a:ext>
              </a:extLst>
            </p:cNvPr>
            <p:cNvSpPr/>
            <p:nvPr/>
          </p:nvSpPr>
          <p:spPr>
            <a:xfrm>
              <a:off x="367560" y="550440"/>
              <a:ext cx="55440" cy="272520"/>
            </a:xfrm>
            <a:custGeom>
              <a:avLst/>
              <a:gdLst/>
              <a:ahLst/>
              <a:cxnLst/>
              <a:rect l="l" t="t" r="r" b="b"/>
              <a:pathLst>
                <a:path w="154" h="757" extrusionOk="0">
                  <a:moveTo>
                    <a:pt x="154" y="648"/>
                  </a:moveTo>
                  <a:lnTo>
                    <a:pt x="154" y="648"/>
                  </a:lnTo>
                  <a:cubicBezTo>
                    <a:pt x="154" y="711"/>
                    <a:pt x="123" y="757"/>
                    <a:pt x="77" y="757"/>
                  </a:cubicBezTo>
                  <a:lnTo>
                    <a:pt x="77" y="757"/>
                  </a:lnTo>
                  <a:cubicBezTo>
                    <a:pt x="30" y="757"/>
                    <a:pt x="0" y="711"/>
                    <a:pt x="0" y="648"/>
                  </a:cubicBezTo>
                  <a:cubicBezTo>
                    <a:pt x="0" y="124"/>
                    <a:pt x="0" y="124"/>
                    <a:pt x="0" y="124"/>
                  </a:cubicBezTo>
                  <a:cubicBezTo>
                    <a:pt x="0" y="47"/>
                    <a:pt x="30" y="0"/>
                    <a:pt x="77" y="0"/>
                  </a:cubicBezTo>
                  <a:lnTo>
                    <a:pt x="77" y="0"/>
                  </a:lnTo>
                  <a:cubicBezTo>
                    <a:pt x="123" y="0"/>
                    <a:pt x="154" y="47"/>
                    <a:pt x="154" y="124"/>
                  </a:cubicBezTo>
                  <a:lnTo>
                    <a:pt x="154" y="648"/>
                  </a:lnTo>
                  <a:close/>
                </a:path>
              </a:pathLst>
            </a:custGeom>
            <a:solidFill>
              <a:srgbClr val="F5F3EF"/>
            </a:solidFill>
            <a:ln>
              <a:noFill/>
            </a:ln>
          </p:spPr>
          <p:txBody>
            <a:bodyPr spcFirstLastPara="1" wrap="square" lIns="90000" tIns="45000" rIns="90000" bIns="45000" anchor="ctr" anchorCtr="1">
              <a:noAutofit/>
            </a:bodyPr>
            <a:lstStyle/>
            <a:p>
              <a:endParaRPr lang="de-DE"/>
            </a:p>
          </p:txBody>
        </p:sp>
        <p:sp>
          <p:nvSpPr>
            <p:cNvPr id="17" name="Google Shape;748;p43">
              <a:extLst>
                <a:ext uri="{FF2B5EF4-FFF2-40B4-BE49-F238E27FC236}">
                  <a16:creationId xmlns:a16="http://schemas.microsoft.com/office/drawing/2014/main" id="{3A3055AE-062D-D121-3C04-58155D832958}"/>
                </a:ext>
              </a:extLst>
            </p:cNvPr>
            <p:cNvSpPr/>
            <p:nvPr/>
          </p:nvSpPr>
          <p:spPr>
            <a:xfrm>
              <a:off x="367560" y="806400"/>
              <a:ext cx="60840" cy="294480"/>
            </a:xfrm>
            <a:custGeom>
              <a:avLst/>
              <a:gdLst/>
              <a:ahLst/>
              <a:cxnLst/>
              <a:rect l="l" t="t" r="r" b="b"/>
              <a:pathLst>
                <a:path w="169" h="818" extrusionOk="0">
                  <a:moveTo>
                    <a:pt x="169" y="818"/>
                  </a:moveTo>
                  <a:lnTo>
                    <a:pt x="169" y="818"/>
                  </a:lnTo>
                  <a:cubicBezTo>
                    <a:pt x="169" y="92"/>
                    <a:pt x="169" y="92"/>
                    <a:pt x="169" y="92"/>
                  </a:cubicBezTo>
                  <a:cubicBezTo>
                    <a:pt x="169" y="46"/>
                    <a:pt x="138" y="0"/>
                    <a:pt x="77" y="0"/>
                  </a:cubicBezTo>
                  <a:cubicBezTo>
                    <a:pt x="30" y="0"/>
                    <a:pt x="0" y="46"/>
                    <a:pt x="0" y="92"/>
                  </a:cubicBezTo>
                  <a:cubicBezTo>
                    <a:pt x="0" y="818"/>
                    <a:pt x="0" y="818"/>
                    <a:pt x="0" y="818"/>
                  </a:cubicBezTo>
                  <a:lnTo>
                    <a:pt x="169" y="818"/>
                  </a:lnTo>
                  <a:close/>
                </a:path>
              </a:pathLst>
            </a:custGeom>
            <a:solidFill>
              <a:srgbClr val="A15315"/>
            </a:solidFill>
            <a:ln>
              <a:noFill/>
            </a:ln>
          </p:spPr>
          <p:txBody>
            <a:bodyPr spcFirstLastPara="1" wrap="square" lIns="90000" tIns="45000" rIns="90000" bIns="45000" anchor="ctr" anchorCtr="1">
              <a:noAutofit/>
            </a:bodyPr>
            <a:lstStyle/>
            <a:p>
              <a:endParaRPr lang="de-DE"/>
            </a:p>
          </p:txBody>
        </p:sp>
      </p:grpSp>
      <p:sp>
        <p:nvSpPr>
          <p:cNvPr id="18" name="Untertitel 3">
            <a:extLst>
              <a:ext uri="{FF2B5EF4-FFF2-40B4-BE49-F238E27FC236}">
                <a16:creationId xmlns:a16="http://schemas.microsoft.com/office/drawing/2014/main" id="{9D402FC9-B003-6ABB-29C8-CFE131F86AFE}"/>
              </a:ext>
            </a:extLst>
          </p:cNvPr>
          <p:cNvSpPr txBox="1">
            <a:spLocks/>
          </p:cNvSpPr>
          <p:nvPr/>
        </p:nvSpPr>
        <p:spPr>
          <a:xfrm>
            <a:off x="1651260" y="2263830"/>
            <a:ext cx="5256866" cy="60481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A multimeter is a handy tool that can measure electrical quantities like voltage, current, and resistance. Here’s a simple guide on how to use it, along with an explanation of its key parts and steps.</a:t>
            </a:r>
          </a:p>
          <a:p>
            <a:endParaRPr lang="en-US" dirty="0"/>
          </a:p>
        </p:txBody>
      </p:sp>
      <p:sp>
        <p:nvSpPr>
          <p:cNvPr id="19" name="Untertitel 5">
            <a:extLst>
              <a:ext uri="{FF2B5EF4-FFF2-40B4-BE49-F238E27FC236}">
                <a16:creationId xmlns:a16="http://schemas.microsoft.com/office/drawing/2014/main" id="{14F227C7-A804-2912-72FE-C68256D689CF}"/>
              </a:ext>
            </a:extLst>
          </p:cNvPr>
          <p:cNvSpPr txBox="1">
            <a:spLocks/>
          </p:cNvSpPr>
          <p:nvPr/>
        </p:nvSpPr>
        <p:spPr>
          <a:xfrm>
            <a:off x="1651260" y="1883003"/>
            <a:ext cx="3579318"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err="1">
                <a:solidFill>
                  <a:schemeClr val="accent2"/>
                </a:solidFill>
              </a:rPr>
              <a:t>What</a:t>
            </a:r>
            <a:r>
              <a:rPr lang="de-DE" sz="1200">
                <a:solidFill>
                  <a:schemeClr val="accent2"/>
                </a:solidFill>
              </a:rPr>
              <a:t> </a:t>
            </a:r>
            <a:r>
              <a:rPr lang="de-DE" sz="1200" err="1">
                <a:solidFill>
                  <a:schemeClr val="accent2"/>
                </a:solidFill>
              </a:rPr>
              <a:t>is</a:t>
            </a:r>
            <a:r>
              <a:rPr lang="de-DE" sz="1200">
                <a:solidFill>
                  <a:schemeClr val="accent2"/>
                </a:solidFill>
              </a:rPr>
              <a:t> a Multimeter?</a:t>
            </a:r>
          </a:p>
        </p:txBody>
      </p:sp>
      <p:sp>
        <p:nvSpPr>
          <p:cNvPr id="20" name="Untertitel 3">
            <a:extLst>
              <a:ext uri="{FF2B5EF4-FFF2-40B4-BE49-F238E27FC236}">
                <a16:creationId xmlns:a16="http://schemas.microsoft.com/office/drawing/2014/main" id="{ADB275A6-C53A-7E16-0F8B-E7526A30BE8E}"/>
              </a:ext>
            </a:extLst>
          </p:cNvPr>
          <p:cNvSpPr txBox="1">
            <a:spLocks/>
          </p:cNvSpPr>
          <p:nvPr/>
        </p:nvSpPr>
        <p:spPr>
          <a:xfrm>
            <a:off x="719137" y="3691980"/>
            <a:ext cx="3694353" cy="222225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Font typeface="+mj-lt"/>
              <a:buAutoNum type="arabicPeriod"/>
            </a:pPr>
            <a:r>
              <a:rPr lang="en-US" b="1" i="1"/>
              <a:t>Display: </a:t>
            </a:r>
            <a:r>
              <a:rPr lang="en-US"/>
              <a:t>Shows the measurement results.</a:t>
            </a:r>
          </a:p>
          <a:p>
            <a:pPr>
              <a:buFont typeface="+mj-lt"/>
              <a:buAutoNum type="arabicPeriod"/>
            </a:pPr>
            <a:r>
              <a:rPr lang="en-US"/>
              <a:t>Dial/Selector Switch: Used to select the quantity you want to measure (voltage, current, or resistance).</a:t>
            </a:r>
          </a:p>
          <a:p>
            <a:pPr>
              <a:buFont typeface="+mj-lt"/>
              <a:buAutoNum type="arabicPeriod"/>
            </a:pPr>
            <a:r>
              <a:rPr lang="en-US" b="1" i="1"/>
              <a:t>Probes</a:t>
            </a:r>
            <a:r>
              <a:rPr lang="en-US"/>
              <a:t>: Two wires with metal tips that you hold against the point you want to measure. The red probe is usually for positive connections, and the black probe is for negative connections.</a:t>
            </a:r>
          </a:p>
          <a:p>
            <a:pPr>
              <a:buFont typeface="+mj-lt"/>
              <a:buAutoNum type="arabicPeriod"/>
            </a:pPr>
            <a:r>
              <a:rPr lang="en-US" b="1" i="1"/>
              <a:t>Ports</a:t>
            </a:r>
            <a:r>
              <a:rPr lang="en-US"/>
              <a:t>: Sockets where you plug in the probes. There are usually three:</a:t>
            </a:r>
          </a:p>
          <a:p>
            <a:pPr lvl="1" algn="l">
              <a:buFont typeface="Arial" panose="020B0604020202020204" pitchFamily="34" charset="0"/>
              <a:buChar char="•"/>
            </a:pPr>
            <a:r>
              <a:rPr lang="en-US"/>
              <a:t>COM: Common port, always for the black probe.</a:t>
            </a:r>
          </a:p>
          <a:p>
            <a:pPr lvl="1" algn="l">
              <a:buFont typeface="Arial" panose="020B0604020202020204" pitchFamily="34" charset="0"/>
              <a:buChar char="•"/>
            </a:pPr>
            <a:r>
              <a:rPr lang="en-US" err="1"/>
              <a:t>VΩmA</a:t>
            </a:r>
            <a:r>
              <a:rPr lang="en-US"/>
              <a:t>: For the red probe when measuring voltage, resistance, or small currents.</a:t>
            </a:r>
          </a:p>
          <a:p>
            <a:pPr lvl="1" algn="l">
              <a:buFont typeface="Arial" panose="020B0604020202020204" pitchFamily="34" charset="0"/>
              <a:buChar char="•"/>
            </a:pPr>
            <a:r>
              <a:rPr lang="en-US"/>
              <a:t>10A: For the red probe when measuring high currents.</a:t>
            </a:r>
          </a:p>
          <a:p>
            <a:endParaRPr lang="en-US"/>
          </a:p>
        </p:txBody>
      </p:sp>
      <p:sp>
        <p:nvSpPr>
          <p:cNvPr id="21" name="Untertitel 5">
            <a:extLst>
              <a:ext uri="{FF2B5EF4-FFF2-40B4-BE49-F238E27FC236}">
                <a16:creationId xmlns:a16="http://schemas.microsoft.com/office/drawing/2014/main" id="{E66736C9-2D9B-3583-01F1-392C5ADBE345}"/>
              </a:ext>
            </a:extLst>
          </p:cNvPr>
          <p:cNvSpPr txBox="1">
            <a:spLocks/>
          </p:cNvSpPr>
          <p:nvPr/>
        </p:nvSpPr>
        <p:spPr>
          <a:xfrm>
            <a:off x="719138" y="3311153"/>
            <a:ext cx="3579318"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de-DE" sz="1200">
                <a:solidFill>
                  <a:schemeClr val="accent2"/>
                </a:solidFill>
              </a:rPr>
              <a:t>Parts </a:t>
            </a:r>
            <a:r>
              <a:rPr lang="de-DE" sz="1200" err="1">
                <a:solidFill>
                  <a:schemeClr val="accent2"/>
                </a:solidFill>
              </a:rPr>
              <a:t>of</a:t>
            </a:r>
            <a:r>
              <a:rPr lang="de-DE" sz="1200">
                <a:solidFill>
                  <a:schemeClr val="accent2"/>
                </a:solidFill>
              </a:rPr>
              <a:t> a Multimeter</a:t>
            </a:r>
          </a:p>
        </p:txBody>
      </p:sp>
      <p:pic>
        <p:nvPicPr>
          <p:cNvPr id="22" name="Picture 1" descr="A close-up of a digital multimeter&#10;&#10;Description automatically generated">
            <a:extLst>
              <a:ext uri="{FF2B5EF4-FFF2-40B4-BE49-F238E27FC236}">
                <a16:creationId xmlns:a16="http://schemas.microsoft.com/office/drawing/2014/main" id="{0D108504-4CE1-D8E9-1280-D9A916ABDF4F}"/>
              </a:ext>
            </a:extLst>
          </p:cNvPr>
          <p:cNvPicPr>
            <a:picLocks noChangeAspect="1"/>
          </p:cNvPicPr>
          <p:nvPr/>
        </p:nvPicPr>
        <p:blipFill rotWithShape="1">
          <a:blip r:embed="rId2">
            <a:extLst>
              <a:ext uri="{28A0092B-C50C-407E-A947-70E740481C1C}">
                <a14:useLocalDpi xmlns:a14="http://schemas.microsoft.com/office/drawing/2010/main" val="0"/>
              </a:ext>
            </a:extLst>
          </a:blip>
          <a:srcRect l="38507" t="3920" r="18131" b="5397"/>
          <a:stretch/>
        </p:blipFill>
        <p:spPr bwMode="auto">
          <a:xfrm>
            <a:off x="4571999" y="3520473"/>
            <a:ext cx="2468563" cy="2903608"/>
          </a:xfrm>
          <a:prstGeom prst="rect">
            <a:avLst/>
          </a:prstGeom>
          <a:ln>
            <a:noFill/>
          </a:ln>
          <a:extLst>
            <a:ext uri="{53640926-AAD7-44D8-BBD7-CCE9431645EC}">
              <a14:shadowObscured xmlns:a14="http://schemas.microsoft.com/office/drawing/2010/main"/>
            </a:ext>
          </a:extLst>
        </p:spPr>
      </p:pic>
      <p:sp>
        <p:nvSpPr>
          <p:cNvPr id="23" name="Untertitel 3">
            <a:extLst>
              <a:ext uri="{FF2B5EF4-FFF2-40B4-BE49-F238E27FC236}">
                <a16:creationId xmlns:a16="http://schemas.microsoft.com/office/drawing/2014/main" id="{2785BB2D-B0B1-8459-16E4-9FAEC5F1B39C}"/>
              </a:ext>
            </a:extLst>
          </p:cNvPr>
          <p:cNvSpPr txBox="1">
            <a:spLocks/>
          </p:cNvSpPr>
          <p:nvPr/>
        </p:nvSpPr>
        <p:spPr>
          <a:xfrm>
            <a:off x="877940" y="7804125"/>
            <a:ext cx="6030186" cy="222225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Font typeface="+mj-lt"/>
              <a:buAutoNum type="arabicPeriod"/>
            </a:pPr>
            <a:r>
              <a:rPr lang="en-US" b="1" i="1"/>
              <a:t>Turn on the Multimeter</a:t>
            </a:r>
            <a:r>
              <a:rPr lang="en-US"/>
              <a:t>: Make sure the multimeter is on by turning the dial.</a:t>
            </a:r>
          </a:p>
          <a:p>
            <a:pPr>
              <a:buFont typeface="+mj-lt"/>
              <a:buAutoNum type="arabicPeriod"/>
            </a:pPr>
            <a:r>
              <a:rPr lang="en-US" b="1" i="1"/>
              <a:t>Select the Measurement Type</a:t>
            </a:r>
            <a:r>
              <a:rPr lang="en-US"/>
              <a:t>:</a:t>
            </a:r>
          </a:p>
          <a:p>
            <a:pPr lvl="1" algn="l">
              <a:buFont typeface="Arial" panose="020B0604020202020204" pitchFamily="34" charset="0"/>
              <a:buChar char="•"/>
            </a:pPr>
            <a:r>
              <a:rPr lang="en-US"/>
              <a:t>Voltage (V): To measure voltage, turn the dial to "V" with a straight line (for DC voltage) or a wavy line (for AC voltage).</a:t>
            </a:r>
          </a:p>
          <a:p>
            <a:pPr lvl="1" algn="l">
              <a:buFont typeface="Arial" panose="020B0604020202020204" pitchFamily="34" charset="0"/>
              <a:buChar char="•"/>
            </a:pPr>
            <a:r>
              <a:rPr lang="en-US"/>
              <a:t>Current (A): To measure current, turn the dial to "A" with the corresponding symbol. Choose between "mA" (milliamps) and "A" (amps) depending on the expected current.  we usually just use mA!</a:t>
            </a:r>
          </a:p>
          <a:p>
            <a:pPr lvl="1" algn="l">
              <a:buFont typeface="Arial" panose="020B0604020202020204" pitchFamily="34" charset="0"/>
              <a:buChar char="•"/>
            </a:pPr>
            <a:r>
              <a:rPr lang="en-US"/>
              <a:t>Resistance (Ω): To measure resistance, turn the dial to the "Ω" symbol.</a:t>
            </a:r>
          </a:p>
        </p:txBody>
      </p:sp>
      <p:sp>
        <p:nvSpPr>
          <p:cNvPr id="24" name="Untertitel 5">
            <a:extLst>
              <a:ext uri="{FF2B5EF4-FFF2-40B4-BE49-F238E27FC236}">
                <a16:creationId xmlns:a16="http://schemas.microsoft.com/office/drawing/2014/main" id="{8BB4E438-D041-97D3-C1DF-91CB8C7B1078}"/>
              </a:ext>
            </a:extLst>
          </p:cNvPr>
          <p:cNvSpPr txBox="1">
            <a:spLocks/>
          </p:cNvSpPr>
          <p:nvPr/>
        </p:nvSpPr>
        <p:spPr>
          <a:xfrm>
            <a:off x="877941" y="7423298"/>
            <a:ext cx="3579318"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en-US" sz="1200">
                <a:solidFill>
                  <a:schemeClr val="accent2"/>
                </a:solidFill>
              </a:rPr>
              <a:t>Important Steps to Use a Multimeter</a:t>
            </a:r>
            <a:endParaRPr lang="de-DE" sz="1200">
              <a:solidFill>
                <a:schemeClr val="accent2"/>
              </a:solidFill>
            </a:endParaRPr>
          </a:p>
        </p:txBody>
      </p:sp>
    </p:spTree>
    <p:extLst>
      <p:ext uri="{BB962C8B-B14F-4D97-AF65-F5344CB8AC3E}">
        <p14:creationId xmlns:p14="http://schemas.microsoft.com/office/powerpoint/2010/main" val="65694893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32504E7-99D7-781A-5C41-F6DBFA9AC391}"/>
              </a:ext>
            </a:extLst>
          </p:cNvPr>
          <p:cNvSpPr>
            <a:spLocks noGrp="1"/>
          </p:cNvSpPr>
          <p:nvPr>
            <p:ph type="sldNum" sz="quarter" idx="10"/>
          </p:nvPr>
        </p:nvSpPr>
        <p:spPr/>
        <p:txBody>
          <a:bodyPr/>
          <a:lstStyle/>
          <a:p>
            <a:fld id="{DF7F771E-9578-4C04-B869-01AF4C35C90C}" type="slidenum">
              <a:rPr lang="de-DE" smtClean="0"/>
              <a:t>80</a:t>
            </a:fld>
            <a:endParaRPr lang="de-DE"/>
          </a:p>
        </p:txBody>
      </p:sp>
      <p:sp>
        <p:nvSpPr>
          <p:cNvPr id="3" name="Untertitel 3">
            <a:extLst>
              <a:ext uri="{FF2B5EF4-FFF2-40B4-BE49-F238E27FC236}">
                <a16:creationId xmlns:a16="http://schemas.microsoft.com/office/drawing/2014/main" id="{49A78907-FE36-7173-131B-B1FF761B690D}"/>
              </a:ext>
            </a:extLst>
          </p:cNvPr>
          <p:cNvSpPr txBox="1">
            <a:spLocks/>
          </p:cNvSpPr>
          <p:nvPr/>
        </p:nvSpPr>
        <p:spPr>
          <a:xfrm>
            <a:off x="730452" y="1542687"/>
            <a:ext cx="5921208" cy="101637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r>
              <a:rPr lang="en-US" sz="1160">
                <a:effectLst/>
                <a:latin typeface="Sofia Sans" panose="020B0604020202020204" charset="0"/>
                <a:ea typeface="Times New Roman" panose="02020603050405020304" pitchFamily="18" charset="0"/>
              </a:rPr>
              <a:t>In real-life applications, PV systems do not operate at their theoretical capacity due to</a:t>
            </a:r>
            <a:endParaRPr lang="tr-TR" sz="1160">
              <a:effectLst/>
              <a:latin typeface="Sofia Sans" panose="020B0604020202020204" charset="0"/>
              <a:ea typeface="Times New Roman" panose="02020603050405020304" pitchFamily="18" charset="0"/>
            </a:endParaRPr>
          </a:p>
          <a:p>
            <a:r>
              <a:rPr lang="en-US" sz="1160">
                <a:effectLst/>
                <a:latin typeface="Sofia Sans" panose="020B0604020202020204" charset="0"/>
                <a:ea typeface="Times New Roman" panose="02020603050405020304" pitchFamily="18" charset="0"/>
              </a:rPr>
              <a:t>various inefficiencies. </a:t>
            </a:r>
            <a:r>
              <a:rPr lang="tr-TR" sz="1160">
                <a:effectLst/>
                <a:latin typeface="Sofia Sans" panose="020B0604020202020204" charset="0"/>
                <a:ea typeface="Times New Roman" panose="02020603050405020304" pitchFamily="18" charset="0"/>
              </a:rPr>
              <a:t> For </a:t>
            </a:r>
            <a:r>
              <a:rPr lang="tr-TR" sz="1160" err="1">
                <a:effectLst/>
                <a:latin typeface="Sofia Sans" panose="020B0604020202020204" charset="0"/>
                <a:ea typeface="Times New Roman" panose="02020603050405020304" pitchFamily="18" charset="0"/>
              </a:rPr>
              <a:t>our</a:t>
            </a:r>
            <a:r>
              <a:rPr lang="tr-TR" sz="1160">
                <a:effectLst/>
                <a:latin typeface="Sofia Sans" panose="020B0604020202020204" charset="0"/>
                <a:ea typeface="Times New Roman" panose="02020603050405020304" pitchFamily="18" charset="0"/>
              </a:rPr>
              <a:t> </a:t>
            </a:r>
            <a:r>
              <a:rPr lang="tr-TR" sz="1160" err="1">
                <a:effectLst/>
                <a:latin typeface="Sofia Sans" panose="020B0604020202020204" charset="0"/>
                <a:ea typeface="Times New Roman" panose="02020603050405020304" pitchFamily="18" charset="0"/>
              </a:rPr>
              <a:t>question</a:t>
            </a:r>
            <a:r>
              <a:rPr lang="tr-TR" sz="1160">
                <a:effectLst/>
                <a:latin typeface="Sofia Sans" panose="020B0604020202020204" charset="0"/>
                <a:ea typeface="Times New Roman" panose="02020603050405020304" pitchFamily="18" charset="0"/>
              </a:rPr>
              <a:t> </a:t>
            </a:r>
            <a:r>
              <a:rPr lang="tr-TR" sz="1160" err="1">
                <a:effectLst/>
                <a:latin typeface="Sofia Sans" panose="020B0604020202020204" charset="0"/>
                <a:ea typeface="Times New Roman" panose="02020603050405020304" pitchFamily="18" charset="0"/>
              </a:rPr>
              <a:t>we</a:t>
            </a:r>
            <a:r>
              <a:rPr lang="tr-TR" sz="1160">
                <a:effectLst/>
                <a:latin typeface="Sofia Sans" panose="020B0604020202020204" charset="0"/>
                <a:ea typeface="Times New Roman" panose="02020603050405020304" pitchFamily="18" charset="0"/>
              </a:rPr>
              <a:t> </a:t>
            </a:r>
            <a:r>
              <a:rPr lang="tr-TR" sz="1160">
                <a:latin typeface="Sofia Sans" panose="020B0604020202020204" charset="0"/>
                <a:ea typeface="Times New Roman" panose="02020603050405020304" pitchFamily="18" charset="0"/>
              </a:rPr>
              <a:t>can </a:t>
            </a:r>
            <a:r>
              <a:rPr lang="tr-TR" sz="1160" err="1">
                <a:latin typeface="Sofia Sans" panose="020B0604020202020204" charset="0"/>
                <a:ea typeface="Times New Roman" panose="02020603050405020304" pitchFamily="18" charset="0"/>
              </a:rPr>
              <a:t>simply</a:t>
            </a:r>
            <a:r>
              <a:rPr lang="tr-TR" sz="1160">
                <a:latin typeface="Sofia Sans" panose="020B0604020202020204" charset="0"/>
                <a:ea typeface="Times New Roman" panose="02020603050405020304" pitchFamily="18" charset="0"/>
              </a:rPr>
              <a:t> </a:t>
            </a:r>
            <a:r>
              <a:rPr lang="en-US" sz="1160" err="1">
                <a:effectLst/>
                <a:latin typeface="Sofia Sans" panose="020B0604020202020204" charset="0"/>
                <a:ea typeface="Times New Roman" panose="02020603050405020304" pitchFamily="18" charset="0"/>
              </a:rPr>
              <a:t>ssume</a:t>
            </a:r>
            <a:r>
              <a:rPr lang="en-US" sz="1160">
                <a:effectLst/>
                <a:latin typeface="Sofia Sans" panose="020B0604020202020204" charset="0"/>
                <a:ea typeface="Times New Roman" panose="02020603050405020304" pitchFamily="18" charset="0"/>
              </a:rPr>
              <a:t> the PV system operates at</a:t>
            </a:r>
            <a:endParaRPr lang="tr-TR" sz="1160">
              <a:effectLst/>
              <a:latin typeface="Sofia Sans" panose="020B0604020202020204" charset="0"/>
              <a:ea typeface="Times New Roman" panose="02020603050405020304" pitchFamily="18" charset="0"/>
            </a:endParaRPr>
          </a:p>
          <a:p>
            <a:r>
              <a:rPr lang="en-US" sz="1160">
                <a:effectLst/>
                <a:latin typeface="Sofia Sans" panose="020B0604020202020204" charset="0"/>
                <a:ea typeface="Times New Roman" panose="02020603050405020304" pitchFamily="18" charset="0"/>
              </a:rPr>
              <a:t>75% efficiency (a rule of</a:t>
            </a:r>
            <a:r>
              <a:rPr lang="tr-TR" sz="1160">
                <a:latin typeface="Sofia Sans" panose="020B0604020202020204" charset="0"/>
                <a:ea typeface="Times New Roman" panose="02020603050405020304" pitchFamily="18" charset="0"/>
              </a:rPr>
              <a:t> </a:t>
            </a:r>
            <a:r>
              <a:rPr lang="en-US" sz="1160">
                <a:effectLst/>
                <a:latin typeface="Sofia Sans" panose="020B0604020202020204" charset="0"/>
                <a:ea typeface="Times New Roman" panose="02020603050405020304" pitchFamily="18" charset="0"/>
              </a:rPr>
              <a:t>thumb). The students have conducted experiments with a </a:t>
            </a:r>
            <a:r>
              <a:rPr lang="en-US" sz="1160" err="1">
                <a:effectLst/>
                <a:latin typeface="Sofia Sans" panose="020B0604020202020204" charset="0"/>
                <a:ea typeface="Times New Roman" panose="02020603050405020304" pitchFamily="18" charset="0"/>
              </a:rPr>
              <a:t>smal</a:t>
            </a:r>
            <a:r>
              <a:rPr lang="tr-TR" sz="1160">
                <a:latin typeface="Sofia Sans" panose="020B0604020202020204" charset="0"/>
                <a:ea typeface="Times New Roman" panose="02020603050405020304" pitchFamily="18" charset="0"/>
              </a:rPr>
              <a:t>l</a:t>
            </a:r>
          </a:p>
          <a:p>
            <a:r>
              <a:rPr lang="en-US" sz="1160">
                <a:effectLst/>
                <a:latin typeface="Sofia Sans" panose="020B0604020202020204" charset="0"/>
                <a:ea typeface="Times New Roman" panose="02020603050405020304" pitchFamily="18" charset="0"/>
              </a:rPr>
              <a:t>PV panel and are</a:t>
            </a:r>
            <a:r>
              <a:rPr lang="tr-TR" sz="1160">
                <a:latin typeface="Sofia Sans" panose="020B0604020202020204" charset="0"/>
                <a:ea typeface="Times New Roman" panose="02020603050405020304" pitchFamily="18" charset="0"/>
              </a:rPr>
              <a:t> </a:t>
            </a:r>
            <a:r>
              <a:rPr lang="en-US" sz="1160">
                <a:effectLst/>
                <a:latin typeface="Sofia Sans" panose="020B0604020202020204" charset="0"/>
                <a:ea typeface="Times New Roman" panose="02020603050405020304" pitchFamily="18" charset="0"/>
              </a:rPr>
              <a:t>therefore, familiar with the decreased performance of the PV systems. </a:t>
            </a:r>
            <a:endParaRPr lang="tr-TR" sz="1160">
              <a:effectLst/>
              <a:latin typeface="Sofia Sans" panose="020B0604020202020204" charset="0"/>
              <a:ea typeface="Times New Roman" panose="02020603050405020304" pitchFamily="18" charset="0"/>
            </a:endParaRPr>
          </a:p>
        </p:txBody>
      </p:sp>
      <p:sp>
        <p:nvSpPr>
          <p:cNvPr id="6" name="TextBox 5">
            <a:extLst>
              <a:ext uri="{FF2B5EF4-FFF2-40B4-BE49-F238E27FC236}">
                <a16:creationId xmlns:a16="http://schemas.microsoft.com/office/drawing/2014/main" id="{C2C206BC-5085-5570-E1C5-F46A5D25BE3D}"/>
              </a:ext>
            </a:extLst>
          </p:cNvPr>
          <p:cNvSpPr txBox="1"/>
          <p:nvPr/>
        </p:nvSpPr>
        <p:spPr>
          <a:xfrm>
            <a:off x="734761" y="1299544"/>
            <a:ext cx="4332848" cy="486287"/>
          </a:xfrm>
          <a:prstGeom prst="rect">
            <a:avLst/>
          </a:prstGeom>
          <a:noFill/>
        </p:spPr>
        <p:txBody>
          <a:bodyPr wrap="square">
            <a:spAutoFit/>
          </a:bodyPr>
          <a:lstStyle/>
          <a:p>
            <a:r>
              <a:rPr lang="tr-TR" sz="1160" b="1">
                <a:solidFill>
                  <a:schemeClr val="accent2"/>
                </a:solidFill>
                <a:latin typeface="Sofia Sans" panose="020B0604020202020204" charset="0"/>
              </a:rPr>
              <a:t>5.  </a:t>
            </a:r>
            <a:r>
              <a:rPr lang="en-US" sz="1160" b="1" i="1">
                <a:solidFill>
                  <a:schemeClr val="dk1"/>
                </a:solidFill>
                <a:latin typeface="Sofia Sans" panose="020B0604020202020204" charset="0"/>
                <a:sym typeface="Sofia Sans"/>
              </a:rPr>
              <a:t>PV System Options: 3 kW, 5 kW, 10 kW (In </a:t>
            </a:r>
            <a:r>
              <a:rPr lang="tr-TR" sz="1160" b="1" i="1" err="1">
                <a:solidFill>
                  <a:schemeClr val="dk1"/>
                </a:solidFill>
                <a:latin typeface="Sofia Sans" panose="020B0604020202020204" charset="0"/>
                <a:sym typeface="Sofia Sans"/>
              </a:rPr>
              <a:t>real</a:t>
            </a:r>
            <a:r>
              <a:rPr lang="tr-TR" sz="1160" b="1" i="1">
                <a:solidFill>
                  <a:schemeClr val="dk1"/>
                </a:solidFill>
                <a:latin typeface="Sofia Sans" panose="020B0604020202020204" charset="0"/>
                <a:sym typeface="Sofia Sans"/>
              </a:rPr>
              <a:t>-life </a:t>
            </a:r>
            <a:r>
              <a:rPr lang="en-US" sz="1160" b="1" i="1">
                <a:solidFill>
                  <a:schemeClr val="dk1"/>
                </a:solidFill>
                <a:latin typeface="Sofia Sans" panose="020B0604020202020204" charset="0"/>
                <a:sym typeface="Sofia Sans"/>
              </a:rPr>
              <a:t>conditions)</a:t>
            </a:r>
            <a:endParaRPr lang="tr-TR" sz="1160" b="1" i="1">
              <a:solidFill>
                <a:schemeClr val="dk1"/>
              </a:solidFill>
              <a:latin typeface="Sofia Sans" panose="020B0604020202020204" charset="0"/>
              <a:sym typeface="Sofia Sans"/>
            </a:endParaRPr>
          </a:p>
          <a:p>
            <a:endParaRPr lang="en-US" b="1">
              <a:latin typeface="Sofia Sans" panose="020B0604020202020204" charset="0"/>
            </a:endParaRPr>
          </a:p>
        </p:txBody>
      </p:sp>
      <p:sp>
        <p:nvSpPr>
          <p:cNvPr id="8" name="TextBox 7">
            <a:extLst>
              <a:ext uri="{FF2B5EF4-FFF2-40B4-BE49-F238E27FC236}">
                <a16:creationId xmlns:a16="http://schemas.microsoft.com/office/drawing/2014/main" id="{270FDF65-80AC-E5F0-9FB1-59A0302265E5}"/>
              </a:ext>
            </a:extLst>
          </p:cNvPr>
          <p:cNvSpPr txBox="1"/>
          <p:nvPr/>
        </p:nvSpPr>
        <p:spPr>
          <a:xfrm>
            <a:off x="730452" y="2559058"/>
            <a:ext cx="4332848" cy="270843"/>
          </a:xfrm>
          <a:prstGeom prst="rect">
            <a:avLst/>
          </a:prstGeom>
          <a:noFill/>
        </p:spPr>
        <p:txBody>
          <a:bodyPr wrap="square">
            <a:spAutoFit/>
          </a:bodyPr>
          <a:lstStyle/>
          <a:p>
            <a:r>
              <a:rPr lang="tr-TR" sz="1160" b="1">
                <a:solidFill>
                  <a:schemeClr val="accent2"/>
                </a:solidFill>
                <a:latin typeface="Sofia Sans" panose="020B0604020202020204" charset="0"/>
              </a:rPr>
              <a:t>5.1  </a:t>
            </a:r>
            <a:r>
              <a:rPr lang="en-US" sz="1160" b="1" i="1">
                <a:solidFill>
                  <a:schemeClr val="dk1"/>
                </a:solidFill>
                <a:latin typeface="Sofia Sans" panose="020B0604020202020204" charset="0"/>
                <a:sym typeface="Sofia Sans"/>
              </a:rPr>
              <a:t>Energy Production and Cost Savings:</a:t>
            </a:r>
            <a:endParaRPr lang="en-US" b="1">
              <a:latin typeface="Sofia Sans" panose="020B0604020202020204" charset="0"/>
            </a:endParaRPr>
          </a:p>
        </p:txBody>
      </p:sp>
      <p:sp>
        <p:nvSpPr>
          <p:cNvPr id="10" name="Rechteck 11">
            <a:extLst>
              <a:ext uri="{FF2B5EF4-FFF2-40B4-BE49-F238E27FC236}">
                <a16:creationId xmlns:a16="http://schemas.microsoft.com/office/drawing/2014/main" id="{3D7D76C0-A1A1-09C7-A58A-91EEEC38AF37}"/>
              </a:ext>
            </a:extLst>
          </p:cNvPr>
          <p:cNvSpPr/>
          <p:nvPr/>
        </p:nvSpPr>
        <p:spPr>
          <a:xfrm>
            <a:off x="733969" y="3977473"/>
            <a:ext cx="5921208" cy="573469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Untertitel 5">
            <a:extLst>
              <a:ext uri="{FF2B5EF4-FFF2-40B4-BE49-F238E27FC236}">
                <a16:creationId xmlns:a16="http://schemas.microsoft.com/office/drawing/2014/main" id="{D2642FDE-AEE1-32C5-2B03-CA94295591B2}"/>
              </a:ext>
            </a:extLst>
          </p:cNvPr>
          <p:cNvSpPr txBox="1">
            <a:spLocks/>
          </p:cNvSpPr>
          <p:nvPr/>
        </p:nvSpPr>
        <p:spPr>
          <a:xfrm>
            <a:off x="703818" y="4027669"/>
            <a:ext cx="4911727" cy="2541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tr-TR" sz="1100" err="1"/>
              <a:t>Calculations</a:t>
            </a:r>
            <a:r>
              <a:rPr lang="tr-TR" sz="1100"/>
              <a:t>:</a:t>
            </a:r>
            <a:endParaRPr lang="de-DE" sz="1100"/>
          </a:p>
        </p:txBody>
      </p:sp>
      <p:sp>
        <p:nvSpPr>
          <p:cNvPr id="2" name="Untertitel 3">
            <a:extLst>
              <a:ext uri="{FF2B5EF4-FFF2-40B4-BE49-F238E27FC236}">
                <a16:creationId xmlns:a16="http://schemas.microsoft.com/office/drawing/2014/main" id="{964DCE61-04A5-D8AA-6518-1E4663CF6367}"/>
              </a:ext>
            </a:extLst>
          </p:cNvPr>
          <p:cNvSpPr txBox="1">
            <a:spLocks/>
          </p:cNvSpPr>
          <p:nvPr/>
        </p:nvSpPr>
        <p:spPr>
          <a:xfrm>
            <a:off x="730452" y="2737398"/>
            <a:ext cx="5921208" cy="130685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00000"/>
              </a:lnSpc>
            </a:pPr>
            <a:r>
              <a:rPr lang="en-US" sz="1160" dirty="0">
                <a:latin typeface="Sofia Sans" panose="020B0604020202020204" charset="0"/>
              </a:rPr>
              <a:t>• Considering</a:t>
            </a:r>
            <a:r>
              <a:rPr lang="tr-TR" sz="1160" dirty="0">
                <a:latin typeface="Sofia Sans" panose="020B0604020202020204" charset="0"/>
              </a:rPr>
              <a:t> </a:t>
            </a:r>
            <a:r>
              <a:rPr lang="en-US" sz="1160" dirty="0">
                <a:latin typeface="Sofia Sans" panose="020B0604020202020204" charset="0"/>
              </a:rPr>
              <a:t>the 75% efficiency under real-life conditions</a:t>
            </a:r>
            <a:r>
              <a:rPr lang="tr-TR" sz="1160" dirty="0">
                <a:latin typeface="Sofia Sans" panose="020B0604020202020204" charset="0"/>
              </a:rPr>
              <a:t> </a:t>
            </a:r>
            <a:r>
              <a:rPr lang="en-US" sz="1160" dirty="0">
                <a:latin typeface="Sofia Sans" panose="020B0604020202020204" charset="0"/>
              </a:rPr>
              <a:t>.</a:t>
            </a:r>
            <a:r>
              <a:rPr lang="tr-TR" sz="1160" dirty="0">
                <a:latin typeface="Sofia Sans" panose="020B0604020202020204" charset="0"/>
              </a:rPr>
              <a:t> </a:t>
            </a:r>
            <a:r>
              <a:rPr lang="en-US" sz="1160" dirty="0">
                <a:latin typeface="Sofia Sans" panose="020B0604020202020204" charset="0"/>
              </a:rPr>
              <a:t>Calculate the potential energy production and cost savings for each system</a:t>
            </a:r>
            <a:r>
              <a:rPr lang="tr-TR" sz="1160" dirty="0">
                <a:latin typeface="Sofia Sans" panose="020B0604020202020204" charset="0"/>
              </a:rPr>
              <a:t>.</a:t>
            </a:r>
            <a:br>
              <a:rPr lang="tr-TR" sz="1160" dirty="0">
                <a:latin typeface="Sofia Sans" panose="020B0604020202020204" charset="0"/>
              </a:rPr>
            </a:br>
            <a:r>
              <a:rPr lang="tr-TR" sz="1160" dirty="0">
                <a:latin typeface="Sofia Sans" panose="020B0604020202020204" charset="0"/>
              </a:rPr>
              <a:t> </a:t>
            </a:r>
            <a:r>
              <a:rPr lang="en-US" sz="1160" dirty="0">
                <a:latin typeface="Sofia Sans" panose="020B0604020202020204" charset="0"/>
              </a:rPr>
              <a:t>(Use 4 hours 30 minutes for</a:t>
            </a:r>
            <a:r>
              <a:rPr lang="tr-TR" sz="1160" dirty="0">
                <a:latin typeface="Sofia Sans" panose="020B0604020202020204" charset="0"/>
              </a:rPr>
              <a:t> l</a:t>
            </a:r>
            <a:r>
              <a:rPr lang="en-US" sz="1160" dirty="0">
                <a:latin typeface="Sofia Sans" panose="020B0604020202020204" charset="0"/>
              </a:rPr>
              <a:t>owe</a:t>
            </a:r>
            <a:r>
              <a:rPr lang="tr-TR" sz="1160" dirty="0">
                <a:latin typeface="Sofia Sans" panose="020B0604020202020204" charset="0"/>
              </a:rPr>
              <a:t>r e</a:t>
            </a:r>
            <a:r>
              <a:rPr lang="en-US" sz="1160" dirty="0" err="1">
                <a:latin typeface="Sofia Sans" panose="020B0604020202020204" charset="0"/>
              </a:rPr>
              <a:t>stimation</a:t>
            </a:r>
            <a:r>
              <a:rPr lang="tr-TR" sz="1160" dirty="0">
                <a:latin typeface="Sofia Sans" panose="020B0604020202020204" charset="0"/>
              </a:rPr>
              <a:t> </a:t>
            </a:r>
            <a:r>
              <a:rPr lang="en-US" sz="1160" dirty="0">
                <a:latin typeface="Sofia Sans" panose="020B0604020202020204" charset="0"/>
              </a:rPr>
              <a:t>and 8 hours for higher estimation)</a:t>
            </a:r>
          </a:p>
          <a:p>
            <a:pPr>
              <a:lnSpc>
                <a:spcPct val="100000"/>
              </a:lnSpc>
            </a:pPr>
            <a:r>
              <a:rPr lang="en-US" sz="1160" dirty="0">
                <a:latin typeface="Sofia Sans" panose="020B0604020202020204" charset="0"/>
              </a:rPr>
              <a:t>• Determine the daily and monthly energy production for each system. </a:t>
            </a:r>
            <a:br>
              <a:rPr lang="tr-TR" sz="1160" dirty="0">
                <a:latin typeface="Sofia Sans" panose="020B0604020202020204" charset="0"/>
              </a:rPr>
            </a:br>
            <a:r>
              <a:rPr lang="tr-TR" sz="1160" dirty="0">
                <a:latin typeface="Sofia Sans" panose="020B0604020202020204" charset="0"/>
              </a:rPr>
              <a:t>(Take 1 year=12 months, 1 month= 30 days) </a:t>
            </a:r>
          </a:p>
          <a:p>
            <a:endParaRPr lang="tr-TR" sz="1160" b="1" i="1" dirty="0">
              <a:latin typeface="Sofia Sans" panose="020B0604020202020204" charset="0"/>
            </a:endParaRPr>
          </a:p>
        </p:txBody>
      </p:sp>
    </p:spTree>
    <p:extLst>
      <p:ext uri="{BB962C8B-B14F-4D97-AF65-F5344CB8AC3E}">
        <p14:creationId xmlns:p14="http://schemas.microsoft.com/office/powerpoint/2010/main" val="428303554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332504E7-99D7-781A-5C41-F6DBFA9AC391}"/>
              </a:ext>
            </a:extLst>
          </p:cNvPr>
          <p:cNvSpPr>
            <a:spLocks noGrp="1"/>
          </p:cNvSpPr>
          <p:nvPr>
            <p:ph type="sldNum" sz="quarter" idx="10"/>
          </p:nvPr>
        </p:nvSpPr>
        <p:spPr/>
        <p:txBody>
          <a:bodyPr/>
          <a:lstStyle/>
          <a:p>
            <a:fld id="{DF7F771E-9578-4C04-B869-01AF4C35C90C}" type="slidenum">
              <a:rPr lang="de-DE" smtClean="0"/>
              <a:t>81</a:t>
            </a:fld>
            <a:endParaRPr lang="de-DE"/>
          </a:p>
        </p:txBody>
      </p:sp>
      <p:sp>
        <p:nvSpPr>
          <p:cNvPr id="8" name="TextBox 7">
            <a:extLst>
              <a:ext uri="{FF2B5EF4-FFF2-40B4-BE49-F238E27FC236}">
                <a16:creationId xmlns:a16="http://schemas.microsoft.com/office/drawing/2014/main" id="{270FDF65-80AC-E5F0-9FB1-59A0302265E5}"/>
              </a:ext>
            </a:extLst>
          </p:cNvPr>
          <p:cNvSpPr txBox="1"/>
          <p:nvPr/>
        </p:nvSpPr>
        <p:spPr>
          <a:xfrm>
            <a:off x="730453" y="1288595"/>
            <a:ext cx="4332848" cy="270843"/>
          </a:xfrm>
          <a:prstGeom prst="rect">
            <a:avLst/>
          </a:prstGeom>
          <a:noFill/>
        </p:spPr>
        <p:txBody>
          <a:bodyPr wrap="square">
            <a:spAutoFit/>
          </a:bodyPr>
          <a:lstStyle/>
          <a:p>
            <a:r>
              <a:rPr lang="tr-TR" sz="1160" b="1">
                <a:solidFill>
                  <a:schemeClr val="accent2"/>
                </a:solidFill>
                <a:latin typeface="Sofia Sans" panose="020B0604020202020204" charset="0"/>
              </a:rPr>
              <a:t>5.2 </a:t>
            </a:r>
            <a:r>
              <a:rPr lang="en-US" sz="1160" b="1" i="1">
                <a:solidFill>
                  <a:schemeClr val="dk1"/>
                </a:solidFill>
                <a:latin typeface="Sofia Sans" panose="020B0604020202020204" charset="0"/>
                <a:sym typeface="Sofia Sans"/>
              </a:rPr>
              <a:t>Investment Cost and Payback Period::</a:t>
            </a:r>
            <a:endParaRPr lang="en-US" b="1">
              <a:latin typeface="Sofia Sans" panose="020B0604020202020204" charset="0"/>
            </a:endParaRPr>
          </a:p>
        </p:txBody>
      </p:sp>
      <p:sp>
        <p:nvSpPr>
          <p:cNvPr id="10" name="Rechteck 11">
            <a:extLst>
              <a:ext uri="{FF2B5EF4-FFF2-40B4-BE49-F238E27FC236}">
                <a16:creationId xmlns:a16="http://schemas.microsoft.com/office/drawing/2014/main" id="{3D7D76C0-A1A1-09C7-A58A-91EEEC38AF37}"/>
              </a:ext>
            </a:extLst>
          </p:cNvPr>
          <p:cNvSpPr/>
          <p:nvPr/>
        </p:nvSpPr>
        <p:spPr>
          <a:xfrm>
            <a:off x="733970" y="2443125"/>
            <a:ext cx="5921208" cy="5786475"/>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Untertitel 5">
            <a:extLst>
              <a:ext uri="{FF2B5EF4-FFF2-40B4-BE49-F238E27FC236}">
                <a16:creationId xmlns:a16="http://schemas.microsoft.com/office/drawing/2014/main" id="{D2642FDE-AEE1-32C5-2B03-CA94295591B2}"/>
              </a:ext>
            </a:extLst>
          </p:cNvPr>
          <p:cNvSpPr txBox="1">
            <a:spLocks/>
          </p:cNvSpPr>
          <p:nvPr/>
        </p:nvSpPr>
        <p:spPr>
          <a:xfrm>
            <a:off x="733970" y="2485268"/>
            <a:ext cx="4911727" cy="2541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tr-TR" sz="1100"/>
              <a:t>Calculations:</a:t>
            </a:r>
            <a:endParaRPr lang="de-DE" sz="1100"/>
          </a:p>
        </p:txBody>
      </p:sp>
      <p:sp>
        <p:nvSpPr>
          <p:cNvPr id="4" name="Untertitel 3">
            <a:extLst>
              <a:ext uri="{FF2B5EF4-FFF2-40B4-BE49-F238E27FC236}">
                <a16:creationId xmlns:a16="http://schemas.microsoft.com/office/drawing/2014/main" id="{4B5C8867-ED79-F574-4C1E-2EF037AAA2FD}"/>
              </a:ext>
            </a:extLst>
          </p:cNvPr>
          <p:cNvSpPr txBox="1">
            <a:spLocks/>
          </p:cNvSpPr>
          <p:nvPr/>
        </p:nvSpPr>
        <p:spPr>
          <a:xfrm>
            <a:off x="730453" y="1545089"/>
            <a:ext cx="5921208" cy="83667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lnSpc>
                <a:spcPct val="100000"/>
              </a:lnSpc>
            </a:pPr>
            <a:r>
              <a:rPr lang="en-US" sz="1160" dirty="0">
                <a:effectLst/>
                <a:latin typeface="Sofia Sans" panose="020B0604020202020204" charset="0"/>
                <a:ea typeface="Times New Roman" panose="02020603050405020304" pitchFamily="18" charset="0"/>
              </a:rPr>
              <a:t>•	Consider the initial investment cost of each PV system and calculate the payback period for each system,</a:t>
            </a:r>
            <a:r>
              <a:rPr lang="tr-TR" sz="1160" dirty="0">
                <a:effectLst/>
                <a:latin typeface="Sofia Sans" panose="020B0604020202020204" charset="0"/>
                <a:ea typeface="Times New Roman" panose="02020603050405020304" pitchFamily="18" charset="0"/>
              </a:rPr>
              <a:t> (</a:t>
            </a:r>
            <a:r>
              <a:rPr lang="tr-TR" sz="1160" dirty="0">
                <a:latin typeface="Sofia Sans" panose="020B0604020202020204" charset="0"/>
                <a:ea typeface="Times New Roman" panose="02020603050405020304" pitchFamily="18" charset="0"/>
              </a:rPr>
              <a:t>T</a:t>
            </a:r>
            <a:r>
              <a:rPr lang="tr-TR" sz="1160" dirty="0">
                <a:effectLst/>
                <a:latin typeface="Sofia Sans" panose="020B0604020202020204" charset="0"/>
                <a:ea typeface="Times New Roman" panose="02020603050405020304" pitchFamily="18" charset="0"/>
              </a:rPr>
              <a:t>ake, 1 year=12 </a:t>
            </a:r>
            <a:r>
              <a:rPr lang="tr-TR" sz="1160" dirty="0">
                <a:latin typeface="Sofia Sans" panose="020B0604020202020204" charset="0"/>
                <a:ea typeface="Times New Roman" panose="02020603050405020304" pitchFamily="18" charset="0"/>
              </a:rPr>
              <a:t>m</a:t>
            </a:r>
            <a:r>
              <a:rPr lang="tr-TR" sz="1160" dirty="0">
                <a:effectLst/>
                <a:latin typeface="Sofia Sans" panose="020B0604020202020204" charset="0"/>
                <a:ea typeface="Times New Roman" panose="02020603050405020304" pitchFamily="18" charset="0"/>
              </a:rPr>
              <a:t>onths</a:t>
            </a:r>
            <a:r>
              <a:rPr lang="tr-TR" sz="1160" dirty="0">
                <a:latin typeface="Sofia Sans" panose="020B0604020202020204" charset="0"/>
                <a:ea typeface="Times New Roman" panose="02020603050405020304" pitchFamily="18" charset="0"/>
              </a:rPr>
              <a:t>, </a:t>
            </a:r>
            <a:r>
              <a:rPr lang="tr-TR" sz="1160" dirty="0">
                <a:effectLst/>
                <a:latin typeface="Sofia Sans" panose="020B0604020202020204" charset="0"/>
                <a:ea typeface="Times New Roman" panose="02020603050405020304" pitchFamily="18" charset="0"/>
              </a:rPr>
              <a:t>1 month</a:t>
            </a:r>
            <a:r>
              <a:rPr lang="tr-TR" sz="1160" dirty="0">
                <a:latin typeface="Sofia Sans" panose="020B0604020202020204" charset="0"/>
                <a:ea typeface="Times New Roman" panose="02020603050405020304" pitchFamily="18" charset="0"/>
              </a:rPr>
              <a:t>= 30 days)</a:t>
            </a:r>
            <a:endParaRPr lang="en-US" sz="1160" dirty="0">
              <a:effectLst/>
              <a:latin typeface="Sofia Sans" panose="020B0604020202020204" charset="0"/>
              <a:ea typeface="Times New Roman" panose="02020603050405020304" pitchFamily="18" charset="0"/>
            </a:endParaRPr>
          </a:p>
          <a:p>
            <a:pPr>
              <a:lnSpc>
                <a:spcPct val="100000"/>
              </a:lnSpc>
            </a:pPr>
            <a:r>
              <a:rPr lang="en-US" sz="1160" dirty="0">
                <a:effectLst/>
                <a:latin typeface="Sofia Sans" panose="020B0604020202020204" charset="0"/>
                <a:ea typeface="Times New Roman" panose="02020603050405020304" pitchFamily="18" charset="0"/>
              </a:rPr>
              <a:t>•	From the results discuss and decide which household should choose which system. Fill in the table below</a:t>
            </a:r>
          </a:p>
          <a:p>
            <a:pPr marL="139700" indent="0"/>
            <a:endParaRPr lang="tr-TR" sz="1160" b="1" i="1" dirty="0">
              <a:latin typeface="Sofia Sans" panose="020B0604020202020204" charset="0"/>
            </a:endParaRPr>
          </a:p>
        </p:txBody>
      </p:sp>
      <p:graphicFrame>
        <p:nvGraphicFramePr>
          <p:cNvPr id="5" name="Google Shape;630;p38">
            <a:extLst>
              <a:ext uri="{FF2B5EF4-FFF2-40B4-BE49-F238E27FC236}">
                <a16:creationId xmlns:a16="http://schemas.microsoft.com/office/drawing/2014/main" id="{25A248B5-8FB9-18B6-E6BA-99E76E8685F0}"/>
              </a:ext>
            </a:extLst>
          </p:cNvPr>
          <p:cNvGraphicFramePr/>
          <p:nvPr>
            <p:extLst>
              <p:ext uri="{D42A27DB-BD31-4B8C-83A1-F6EECF244321}">
                <p14:modId xmlns:p14="http://schemas.microsoft.com/office/powerpoint/2010/main" val="2886079662"/>
              </p:ext>
            </p:extLst>
          </p:nvPr>
        </p:nvGraphicFramePr>
        <p:xfrm>
          <a:off x="760604" y="8708452"/>
          <a:ext cx="5921208" cy="1200723"/>
        </p:xfrm>
        <a:graphic>
          <a:graphicData uri="http://schemas.openxmlformats.org/drawingml/2006/table">
            <a:tbl>
              <a:tblPr>
                <a:noFill/>
                <a:tableStyleId>{F0CFADBD-3245-443C-9B6D-9ACBA4CA32A5}</a:tableStyleId>
              </a:tblPr>
              <a:tblGrid>
                <a:gridCol w="2960604">
                  <a:extLst>
                    <a:ext uri="{9D8B030D-6E8A-4147-A177-3AD203B41FA5}">
                      <a16:colId xmlns:a16="http://schemas.microsoft.com/office/drawing/2014/main" val="20000"/>
                    </a:ext>
                  </a:extLst>
                </a:gridCol>
                <a:gridCol w="2960604">
                  <a:extLst>
                    <a:ext uri="{9D8B030D-6E8A-4147-A177-3AD203B41FA5}">
                      <a16:colId xmlns:a16="http://schemas.microsoft.com/office/drawing/2014/main" val="20001"/>
                    </a:ext>
                  </a:extLst>
                </a:gridCol>
              </a:tblGrid>
              <a:tr h="489765">
                <a:tc>
                  <a:txBody>
                    <a:bodyPr/>
                    <a:lstStyle/>
                    <a:p>
                      <a:pPr marL="0" marR="0" lvl="0" indent="0" algn="ctr" rtl="0">
                        <a:lnSpc>
                          <a:spcPct val="115000"/>
                        </a:lnSpc>
                        <a:spcBef>
                          <a:spcPts val="0"/>
                        </a:spcBef>
                        <a:spcAft>
                          <a:spcPts val="0"/>
                        </a:spcAft>
                        <a:buClr>
                          <a:srgbClr val="000000"/>
                        </a:buClr>
                        <a:buFont typeface="Arial"/>
                        <a:buNone/>
                      </a:pPr>
                      <a:r>
                        <a:rPr lang="en-US" sz="1157" b="1" i="0" u="none" strike="noStrike" cap="none">
                          <a:solidFill>
                            <a:srgbClr val="000000"/>
                          </a:solidFill>
                          <a:effectLst/>
                          <a:latin typeface="Arial"/>
                          <a:ea typeface="Arial"/>
                          <a:cs typeface="Arial"/>
                          <a:sym typeface="Arial"/>
                        </a:rPr>
                        <a:t>Household</a:t>
                      </a:r>
                      <a:r>
                        <a:rPr lang="tr-TR" sz="1157" b="1" i="0" u="none" strike="noStrike" cap="none">
                          <a:solidFill>
                            <a:srgbClr val="000000"/>
                          </a:solidFill>
                          <a:effectLst/>
                          <a:latin typeface="Arial"/>
                          <a:ea typeface="Arial"/>
                          <a:cs typeface="Arial"/>
                          <a:sym typeface="Arial"/>
                        </a:rPr>
                        <a:t> </a:t>
                      </a:r>
                      <a:r>
                        <a:rPr lang="tr-TR" sz="1157" b="1" i="0" u="none" strike="noStrike" cap="none" err="1">
                          <a:solidFill>
                            <a:srgbClr val="000000"/>
                          </a:solidFill>
                          <a:effectLst/>
                          <a:latin typeface="Arial"/>
                          <a:ea typeface="Arial"/>
                          <a:cs typeface="Arial"/>
                          <a:sym typeface="Arial"/>
                        </a:rPr>
                        <a:t>with</a:t>
                      </a:r>
                      <a:r>
                        <a:rPr lang="en-US" sz="1157" b="1" i="0" u="none" strike="noStrike" cap="none">
                          <a:solidFill>
                            <a:srgbClr val="000000"/>
                          </a:solidFill>
                          <a:effectLst/>
                          <a:latin typeface="Arial"/>
                          <a:ea typeface="Arial"/>
                          <a:cs typeface="Arial"/>
                          <a:sym typeface="Arial"/>
                        </a:rPr>
                        <a:t> DSM </a:t>
                      </a:r>
                      <a:br>
                        <a:rPr lang="tr-TR" sz="1157" b="1" i="0" u="none" strike="noStrike" cap="none">
                          <a:solidFill>
                            <a:srgbClr val="000000"/>
                          </a:solidFill>
                          <a:effectLst/>
                          <a:latin typeface="Arial"/>
                          <a:ea typeface="Arial"/>
                          <a:cs typeface="Arial"/>
                          <a:sym typeface="Arial"/>
                        </a:rPr>
                      </a:br>
                      <a:r>
                        <a:rPr lang="tr-TR" sz="1157" b="1" i="0" u="none" strike="noStrike" cap="none" err="1">
                          <a:solidFill>
                            <a:srgbClr val="000000"/>
                          </a:solidFill>
                          <a:effectLst/>
                          <a:latin typeface="Arial"/>
                          <a:ea typeface="Arial"/>
                          <a:cs typeface="Arial"/>
                          <a:sym typeface="Arial"/>
                        </a:rPr>
                        <a:t>System</a:t>
                      </a:r>
                      <a:r>
                        <a:rPr lang="tr-TR" sz="1157" b="1" i="0" u="none" strike="noStrike" cap="none">
                          <a:solidFill>
                            <a:srgbClr val="000000"/>
                          </a:solidFill>
                          <a:effectLst/>
                          <a:latin typeface="Arial"/>
                          <a:ea typeface="Arial"/>
                          <a:cs typeface="Arial"/>
                          <a:sym typeface="Arial"/>
                        </a:rPr>
                        <a:t> </a:t>
                      </a:r>
                      <a:r>
                        <a:rPr lang="tr-TR" sz="1157" b="1" i="0" u="none" strike="noStrike" cap="none" err="1">
                          <a:solidFill>
                            <a:srgbClr val="000000"/>
                          </a:solidFill>
                          <a:effectLst/>
                          <a:latin typeface="Arial"/>
                          <a:ea typeface="Arial"/>
                          <a:cs typeface="Arial"/>
                          <a:sym typeface="Arial"/>
                        </a:rPr>
                        <a:t>Selection</a:t>
                      </a:r>
                      <a:endParaRPr lang="de-DE" sz="1157" b="1" i="0" u="none" strike="noStrike" cap="none">
                        <a:solidFill>
                          <a:srgbClr val="000000"/>
                        </a:solidFill>
                        <a:effectLst/>
                        <a:latin typeface="Arial"/>
                        <a:ea typeface="Epilogue"/>
                        <a:cs typeface="Arial"/>
                        <a:sym typeface="Epilogue"/>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r>
                        <a:rPr lang="en-US" sz="1157" b="1" i="0" u="none" strike="noStrike" cap="none">
                          <a:solidFill>
                            <a:srgbClr val="000000"/>
                          </a:solidFill>
                          <a:effectLst/>
                          <a:latin typeface="Arial"/>
                          <a:ea typeface="Arial"/>
                          <a:cs typeface="Arial"/>
                          <a:sym typeface="Arial"/>
                        </a:rPr>
                        <a:t>Household </a:t>
                      </a:r>
                      <a:r>
                        <a:rPr lang="tr-TR" sz="1157" b="1" i="0" u="none" strike="noStrike" cap="none" err="1">
                          <a:solidFill>
                            <a:srgbClr val="000000"/>
                          </a:solidFill>
                          <a:effectLst/>
                          <a:latin typeface="Arial"/>
                          <a:ea typeface="Arial"/>
                          <a:cs typeface="Arial"/>
                          <a:sym typeface="Arial"/>
                        </a:rPr>
                        <a:t>without</a:t>
                      </a:r>
                      <a:r>
                        <a:rPr lang="en-US" sz="1157" b="1" i="0" u="none" strike="noStrike" cap="none">
                          <a:solidFill>
                            <a:srgbClr val="000000"/>
                          </a:solidFill>
                          <a:effectLst/>
                          <a:latin typeface="Arial"/>
                          <a:ea typeface="Arial"/>
                          <a:cs typeface="Arial"/>
                          <a:sym typeface="Arial"/>
                        </a:rPr>
                        <a:t> DSM </a:t>
                      </a:r>
                      <a:endParaRPr lang="tr-TR" sz="1157" b="1" i="0" u="none" strike="noStrike" cap="none">
                        <a:solidFill>
                          <a:srgbClr val="000000"/>
                        </a:solidFill>
                        <a:effectLst/>
                        <a:latin typeface="Arial"/>
                        <a:ea typeface="Arial"/>
                        <a:cs typeface="Arial"/>
                        <a:sym typeface="Arial"/>
                      </a:endParaRPr>
                    </a:p>
                    <a:p>
                      <a:pPr marL="0" marR="0" lvl="0" indent="0" algn="ctr" rtl="0">
                        <a:lnSpc>
                          <a:spcPct val="115000"/>
                        </a:lnSpc>
                        <a:spcBef>
                          <a:spcPts val="0"/>
                        </a:spcBef>
                        <a:spcAft>
                          <a:spcPts val="0"/>
                        </a:spcAft>
                        <a:buClr>
                          <a:srgbClr val="000000"/>
                        </a:buClr>
                        <a:buFont typeface="Arial"/>
                        <a:buNone/>
                      </a:pPr>
                      <a:r>
                        <a:rPr lang="tr-TR" sz="1157" b="1" i="0" u="none" strike="noStrike" cap="none" err="1">
                          <a:solidFill>
                            <a:srgbClr val="000000"/>
                          </a:solidFill>
                          <a:effectLst/>
                          <a:latin typeface="Arial"/>
                          <a:ea typeface="Arial"/>
                          <a:cs typeface="Arial"/>
                          <a:sym typeface="Arial"/>
                        </a:rPr>
                        <a:t>System</a:t>
                      </a:r>
                      <a:r>
                        <a:rPr lang="tr-TR" sz="1157" b="1" i="0" u="none" strike="noStrike" cap="none">
                          <a:solidFill>
                            <a:srgbClr val="000000"/>
                          </a:solidFill>
                          <a:effectLst/>
                          <a:latin typeface="Arial"/>
                          <a:ea typeface="Arial"/>
                          <a:cs typeface="Arial"/>
                          <a:sym typeface="Arial"/>
                        </a:rPr>
                        <a:t> </a:t>
                      </a:r>
                      <a:r>
                        <a:rPr lang="tr-TR" sz="1157" b="1" i="0" u="none" strike="noStrike" cap="none" err="1">
                          <a:solidFill>
                            <a:srgbClr val="000000"/>
                          </a:solidFill>
                          <a:effectLst/>
                          <a:latin typeface="Arial"/>
                          <a:ea typeface="Arial"/>
                          <a:cs typeface="Arial"/>
                          <a:sym typeface="Arial"/>
                        </a:rPr>
                        <a:t>Selection</a:t>
                      </a:r>
                      <a:endParaRPr lang="de-DE" sz="1157" b="1" i="0" u="none" strike="noStrike" cap="none">
                        <a:solidFill>
                          <a:srgbClr val="000000"/>
                        </a:solidFill>
                        <a:effectLst/>
                        <a:latin typeface="Arial"/>
                        <a:ea typeface="Epilogue"/>
                        <a:cs typeface="Arial"/>
                        <a:sym typeface="Epilogue"/>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12700" cap="flat" cmpd="sng" algn="ctr">
                      <a:solidFill>
                        <a:schemeClr val="tx1"/>
                      </a:solidFill>
                      <a:prstDash val="solid"/>
                      <a:round/>
                      <a:headEnd type="none" w="med" len="med"/>
                      <a:tailEnd type="none" w="med" len="med"/>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0"/>
                  </a:ext>
                </a:extLst>
              </a:tr>
              <a:tr h="710958">
                <a:tc>
                  <a:txBody>
                    <a:bodyPr/>
                    <a:lstStyle/>
                    <a:p>
                      <a:pPr marL="0" lvl="0" indent="0" algn="ctr" rtl="0">
                        <a:lnSpc>
                          <a:spcPct val="115000"/>
                        </a:lnSpc>
                        <a:spcBef>
                          <a:spcPts val="0"/>
                        </a:spcBef>
                        <a:spcAft>
                          <a:spcPts val="0"/>
                        </a:spcAft>
                        <a:buNone/>
                      </a:pPr>
                      <a:endParaRPr sz="1157" b="1" i="0" u="none" strike="noStrike" cap="none">
                        <a:solidFill>
                          <a:srgbClr val="000000"/>
                        </a:solidFill>
                        <a:effectLst/>
                        <a:latin typeface="Arial"/>
                        <a:ea typeface="Sofia Sans"/>
                        <a:cs typeface="Arial"/>
                        <a:sym typeface="Sofia Sans"/>
                      </a:endParaRPr>
                    </a:p>
                  </a:txBody>
                  <a:tcPr marL="0" marR="0" marT="0" marB="0" anchor="ctr">
                    <a:lnL w="12700" cap="flat" cmpd="sng" algn="ctr">
                      <a:solidFill>
                        <a:schemeClr val="tx1"/>
                      </a:solidFill>
                      <a:prstDash val="solid"/>
                      <a:round/>
                      <a:headEnd type="none" w="med" len="med"/>
                      <a:tailEnd type="none" w="med" len="med"/>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tc>
                  <a:txBody>
                    <a:bodyPr/>
                    <a:lstStyle/>
                    <a:p>
                      <a:pPr marL="0" marR="0" lvl="0" indent="0" algn="ctr" rtl="0">
                        <a:lnSpc>
                          <a:spcPct val="115000"/>
                        </a:lnSpc>
                        <a:spcBef>
                          <a:spcPts val="0"/>
                        </a:spcBef>
                        <a:spcAft>
                          <a:spcPts val="0"/>
                        </a:spcAft>
                        <a:buClr>
                          <a:srgbClr val="000000"/>
                        </a:buClr>
                        <a:buFont typeface="Arial"/>
                        <a:buNone/>
                      </a:pPr>
                      <a:endParaRPr sz="1157" b="0" i="0" u="none" strike="noStrike" cap="none">
                        <a:solidFill>
                          <a:srgbClr val="000000"/>
                        </a:solidFill>
                        <a:effectLst/>
                        <a:latin typeface="Arial"/>
                        <a:ea typeface="Sofia Sans"/>
                        <a:cs typeface="Arial"/>
                        <a:sym typeface="Sofia Sans"/>
                      </a:endParaRPr>
                    </a:p>
                  </a:txBody>
                  <a:tcPr marL="0" marR="0" marT="0" marB="0" anchor="ctr">
                    <a:lnL w="9525" cap="flat" cmpd="sng">
                      <a:solidFill>
                        <a:schemeClr val="dk1"/>
                      </a:solidFill>
                      <a:prstDash val="dash"/>
                      <a:round/>
                      <a:headEnd type="none" w="sm" len="sm"/>
                      <a:tailEnd type="none" w="sm" len="sm"/>
                    </a:lnL>
                    <a:lnR w="9525" cap="flat" cmpd="sng">
                      <a:solidFill>
                        <a:schemeClr val="dk1"/>
                      </a:solidFill>
                      <a:prstDash val="dash"/>
                      <a:round/>
                      <a:headEnd type="none" w="sm" len="sm"/>
                      <a:tailEnd type="none" w="sm" len="sm"/>
                    </a:lnR>
                    <a:lnT w="9525" cap="flat" cmpd="sng">
                      <a:solidFill>
                        <a:schemeClr val="dk1"/>
                      </a:solidFill>
                      <a:prstDash val="dash"/>
                      <a:round/>
                      <a:headEnd type="none" w="sm" len="sm"/>
                      <a:tailEnd type="none" w="sm" len="sm"/>
                    </a:lnT>
                    <a:lnB w="9525" cap="flat" cmpd="sng">
                      <a:solidFill>
                        <a:schemeClr val="dk1"/>
                      </a:solidFill>
                      <a:prstDash val="dash"/>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1283576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cxnSp>
        <p:nvCxnSpPr>
          <p:cNvPr id="24" name="Google Shape;305;p24">
            <a:extLst>
              <a:ext uri="{FF2B5EF4-FFF2-40B4-BE49-F238E27FC236}">
                <a16:creationId xmlns:a16="http://schemas.microsoft.com/office/drawing/2014/main" id="{AECB668F-EBBF-2090-3C7A-7A2C67586275}"/>
              </a:ext>
            </a:extLst>
          </p:cNvPr>
          <p:cNvCxnSpPr>
            <a:cxnSpLocks/>
          </p:cNvCxnSpPr>
          <p:nvPr/>
        </p:nvCxnSpPr>
        <p:spPr>
          <a:xfrm>
            <a:off x="3779838" y="5210175"/>
            <a:ext cx="0" cy="5812266"/>
          </a:xfrm>
          <a:prstGeom prst="straightConnector1">
            <a:avLst/>
          </a:prstGeom>
          <a:noFill/>
          <a:ln w="9525" cap="flat" cmpd="sng">
            <a:solidFill>
              <a:schemeClr val="dk1"/>
            </a:solidFill>
            <a:prstDash val="dash"/>
            <a:round/>
            <a:headEnd type="none" w="med" len="med"/>
            <a:tailEnd type="none" w="med" len="med"/>
          </a:ln>
        </p:spPr>
      </p:cxnSp>
      <p:cxnSp>
        <p:nvCxnSpPr>
          <p:cNvPr id="20" name="Google Shape;305;p24">
            <a:extLst>
              <a:ext uri="{FF2B5EF4-FFF2-40B4-BE49-F238E27FC236}">
                <a16:creationId xmlns:a16="http://schemas.microsoft.com/office/drawing/2014/main" id="{C4482A4E-0C0A-7E91-43CE-F77F3B3F69E3}"/>
              </a:ext>
            </a:extLst>
          </p:cNvPr>
          <p:cNvCxnSpPr>
            <a:cxnSpLocks/>
          </p:cNvCxnSpPr>
          <p:nvPr/>
        </p:nvCxnSpPr>
        <p:spPr>
          <a:xfrm>
            <a:off x="2712632" y="-295275"/>
            <a:ext cx="0" cy="10987088"/>
          </a:xfrm>
          <a:prstGeom prst="straightConnector1">
            <a:avLst/>
          </a:prstGeom>
          <a:noFill/>
          <a:ln w="9525" cap="flat" cmpd="sng">
            <a:solidFill>
              <a:schemeClr val="dk1"/>
            </a:solidFill>
            <a:prstDash val="dash"/>
            <a:round/>
            <a:headEnd type="none" w="med" len="med"/>
            <a:tailEnd type="none" w="med" len="med"/>
          </a:ln>
        </p:spPr>
      </p:cxnSp>
      <p:cxnSp>
        <p:nvCxnSpPr>
          <p:cNvPr id="18" name="Google Shape;305;p24">
            <a:extLst>
              <a:ext uri="{FF2B5EF4-FFF2-40B4-BE49-F238E27FC236}">
                <a16:creationId xmlns:a16="http://schemas.microsoft.com/office/drawing/2014/main" id="{3CA27CFD-202E-4CD5-8537-6C808B0DF954}"/>
              </a:ext>
            </a:extLst>
          </p:cNvPr>
          <p:cNvCxnSpPr>
            <a:cxnSpLocks/>
          </p:cNvCxnSpPr>
          <p:nvPr/>
        </p:nvCxnSpPr>
        <p:spPr>
          <a:xfrm>
            <a:off x="2517970" y="2970879"/>
            <a:ext cx="5454455" cy="0"/>
          </a:xfrm>
          <a:prstGeom prst="straightConnector1">
            <a:avLst/>
          </a:prstGeom>
          <a:noFill/>
          <a:ln w="9525" cap="flat" cmpd="sng">
            <a:solidFill>
              <a:schemeClr val="dk1"/>
            </a:solidFill>
            <a:prstDash val="dash"/>
            <a:round/>
            <a:headEnd type="none" w="med" len="med"/>
            <a:tailEnd type="none" w="med" len="med"/>
          </a:ln>
        </p:spPr>
      </p:cxnSp>
      <p:cxnSp>
        <p:nvCxnSpPr>
          <p:cNvPr id="16" name="Google Shape;305;p24">
            <a:extLst>
              <a:ext uri="{FF2B5EF4-FFF2-40B4-BE49-F238E27FC236}">
                <a16:creationId xmlns:a16="http://schemas.microsoft.com/office/drawing/2014/main" id="{52E5B712-94F2-6990-442F-ABFA4F2E4DF5}"/>
              </a:ext>
            </a:extLst>
          </p:cNvPr>
          <p:cNvCxnSpPr>
            <a:cxnSpLocks/>
          </p:cNvCxnSpPr>
          <p:nvPr/>
        </p:nvCxnSpPr>
        <p:spPr>
          <a:xfrm>
            <a:off x="-177605" y="4007278"/>
            <a:ext cx="8483405" cy="0"/>
          </a:xfrm>
          <a:prstGeom prst="straightConnector1">
            <a:avLst/>
          </a:prstGeom>
          <a:noFill/>
          <a:ln w="9525" cap="flat" cmpd="sng">
            <a:solidFill>
              <a:schemeClr val="dk1"/>
            </a:solidFill>
            <a:prstDash val="dash"/>
            <a:round/>
            <a:headEnd type="none" w="med" len="med"/>
            <a:tailEnd type="none" w="med" len="med"/>
          </a:ln>
        </p:spPr>
      </p:cxnSp>
      <p:sp>
        <p:nvSpPr>
          <p:cNvPr id="15" name="Rechteck 14">
            <a:extLst>
              <a:ext uri="{FF2B5EF4-FFF2-40B4-BE49-F238E27FC236}">
                <a16:creationId xmlns:a16="http://schemas.microsoft.com/office/drawing/2014/main" id="{C063A260-5050-6FE0-6783-D8FC8E6864DB}"/>
              </a:ext>
            </a:extLst>
          </p:cNvPr>
          <p:cNvSpPr/>
          <p:nvPr/>
        </p:nvSpPr>
        <p:spPr>
          <a:xfrm>
            <a:off x="2428875" y="2952750"/>
            <a:ext cx="4705350" cy="489585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descr="Ein Bild, das Cartoon enthält.&#10;&#10;Automatisch generierte Beschreibung">
            <a:extLst>
              <a:ext uri="{FF2B5EF4-FFF2-40B4-BE49-F238E27FC236}">
                <a16:creationId xmlns:a16="http://schemas.microsoft.com/office/drawing/2014/main" id="{0BFF40D5-6F2E-0335-E568-C32556BE57D9}"/>
              </a:ext>
            </a:extLst>
          </p:cNvPr>
          <p:cNvPicPr>
            <a:picLocks noChangeAspect="1"/>
          </p:cNvPicPr>
          <p:nvPr/>
        </p:nvPicPr>
        <p:blipFill rotWithShape="1">
          <a:blip r:embed="rId3"/>
          <a:srcRect l="4455" t="75741" r="75134" b="4504"/>
          <a:stretch/>
        </p:blipFill>
        <p:spPr>
          <a:xfrm>
            <a:off x="2712631" y="4945989"/>
            <a:ext cx="1389653" cy="1389653"/>
          </a:xfrm>
          <a:prstGeom prst="ellipse">
            <a:avLst/>
          </a:prstGeom>
        </p:spPr>
      </p:pic>
      <p:sp>
        <p:nvSpPr>
          <p:cNvPr id="9" name="Rechteck 8">
            <a:extLst>
              <a:ext uri="{FF2B5EF4-FFF2-40B4-BE49-F238E27FC236}">
                <a16:creationId xmlns:a16="http://schemas.microsoft.com/office/drawing/2014/main" id="{6FB8F27F-081C-2015-F78E-41DB0A62D13C}"/>
              </a:ext>
            </a:extLst>
          </p:cNvPr>
          <p:cNvSpPr/>
          <p:nvPr/>
        </p:nvSpPr>
        <p:spPr>
          <a:xfrm>
            <a:off x="537513" y="220062"/>
            <a:ext cx="1783377" cy="16663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itel 2">
            <a:extLst>
              <a:ext uri="{FF2B5EF4-FFF2-40B4-BE49-F238E27FC236}">
                <a16:creationId xmlns:a16="http://schemas.microsoft.com/office/drawing/2014/main" id="{09B6353F-CB41-C93E-F3AB-4184CA505A42}"/>
              </a:ext>
            </a:extLst>
          </p:cNvPr>
          <p:cNvSpPr>
            <a:spLocks noGrp="1"/>
          </p:cNvSpPr>
          <p:nvPr>
            <p:ph type="ctrTitle"/>
          </p:nvPr>
        </p:nvSpPr>
        <p:spPr>
          <a:xfrm>
            <a:off x="2712632" y="5783342"/>
            <a:ext cx="4069908" cy="1389655"/>
          </a:xfrm>
        </p:spPr>
        <p:txBody>
          <a:bodyPr/>
          <a:lstStyle/>
          <a:p>
            <a:r>
              <a:rPr lang="de-DE" sz="4000">
                <a:solidFill>
                  <a:srgbClr val="FFFFFF"/>
                </a:solidFill>
              </a:rPr>
              <a:t>Well </a:t>
            </a:r>
            <a:r>
              <a:rPr lang="de-DE" sz="4000" err="1">
                <a:solidFill>
                  <a:srgbClr val="FFFFFF"/>
                </a:solidFill>
              </a:rPr>
              <a:t>done</a:t>
            </a:r>
            <a:r>
              <a:rPr lang="de-DE" sz="4000">
                <a:solidFill>
                  <a:srgbClr val="FFFFFF"/>
                </a:solidFill>
              </a:rPr>
              <a:t>!</a:t>
            </a:r>
          </a:p>
        </p:txBody>
      </p:sp>
      <p:cxnSp>
        <p:nvCxnSpPr>
          <p:cNvPr id="22" name="Google Shape;305;p24">
            <a:extLst>
              <a:ext uri="{FF2B5EF4-FFF2-40B4-BE49-F238E27FC236}">
                <a16:creationId xmlns:a16="http://schemas.microsoft.com/office/drawing/2014/main" id="{F5ACB900-DE4B-EE7A-E9CB-45BB973F31C4}"/>
              </a:ext>
            </a:extLst>
          </p:cNvPr>
          <p:cNvCxnSpPr>
            <a:cxnSpLocks/>
          </p:cNvCxnSpPr>
          <p:nvPr/>
        </p:nvCxnSpPr>
        <p:spPr>
          <a:xfrm>
            <a:off x="-2727228" y="8331628"/>
            <a:ext cx="6507066" cy="0"/>
          </a:xfrm>
          <a:prstGeom prst="straightConnector1">
            <a:avLst/>
          </a:prstGeom>
          <a:noFill/>
          <a:ln w="9525" cap="flat" cmpd="sng">
            <a:solidFill>
              <a:schemeClr val="dk1"/>
            </a:solidFill>
            <a:prstDash val="dash"/>
            <a:round/>
            <a:headEnd type="none" w="med" len="med"/>
            <a:tailEnd type="none" w="med" len="med"/>
          </a:ln>
        </p:spPr>
      </p:cxnSp>
      <p:sp>
        <p:nvSpPr>
          <p:cNvPr id="4" name="Textfeld 3">
            <a:extLst>
              <a:ext uri="{FF2B5EF4-FFF2-40B4-BE49-F238E27FC236}">
                <a16:creationId xmlns:a16="http://schemas.microsoft.com/office/drawing/2014/main" id="{49C805EC-2EA4-FD71-C144-81A51191A0B9}"/>
              </a:ext>
            </a:extLst>
          </p:cNvPr>
          <p:cNvSpPr txBox="1"/>
          <p:nvPr/>
        </p:nvSpPr>
        <p:spPr>
          <a:xfrm>
            <a:off x="739023" y="9969471"/>
            <a:ext cx="3557894" cy="307777"/>
          </a:xfrm>
          <a:prstGeom prst="rect">
            <a:avLst/>
          </a:prstGeom>
          <a:noFill/>
        </p:spPr>
        <p:txBody>
          <a:bodyPr wrap="square" rtlCol="0">
            <a:spAutoFit/>
          </a:bodyPr>
          <a:lstStyle/>
          <a:p>
            <a:r>
              <a:rPr lang="de-DE" b="0" i="0" err="1">
                <a:solidFill>
                  <a:srgbClr val="374957"/>
                </a:solidFill>
                <a:effectLst/>
                <a:highlight>
                  <a:srgbClr val="FFFFFF"/>
                </a:highlight>
                <a:latin typeface="Inter"/>
              </a:rPr>
              <a:t>Designed</a:t>
            </a:r>
            <a:r>
              <a:rPr lang="de-DE" b="0" i="0">
                <a:solidFill>
                  <a:srgbClr val="374957"/>
                </a:solidFill>
                <a:effectLst/>
                <a:highlight>
                  <a:srgbClr val="FFFFFF"/>
                </a:highlight>
                <a:latin typeface="Inter"/>
              </a:rPr>
              <a:t> </a:t>
            </a:r>
            <a:r>
              <a:rPr lang="de-DE" b="0" i="0" err="1">
                <a:solidFill>
                  <a:srgbClr val="374957"/>
                </a:solidFill>
                <a:effectLst/>
                <a:highlight>
                  <a:srgbClr val="FFFFFF"/>
                </a:highlight>
                <a:latin typeface="Inter"/>
              </a:rPr>
              <a:t>by</a:t>
            </a:r>
            <a:r>
              <a:rPr lang="de-DE" b="0" i="0">
                <a:solidFill>
                  <a:srgbClr val="374957"/>
                </a:solidFill>
                <a:effectLst/>
                <a:highlight>
                  <a:srgbClr val="FFFFFF"/>
                </a:highlight>
                <a:latin typeface="Inter"/>
              </a:rPr>
              <a:t> </a:t>
            </a:r>
            <a:r>
              <a:rPr lang="de-DE" b="0" i="0" err="1">
                <a:solidFill>
                  <a:srgbClr val="374957"/>
                </a:solidFill>
                <a:effectLst/>
                <a:highlight>
                  <a:srgbClr val="FFFFFF"/>
                </a:highlight>
                <a:latin typeface="Inter"/>
              </a:rPr>
              <a:t>Slidesgo</a:t>
            </a:r>
            <a:r>
              <a:rPr lang="de-DE" b="0" i="0">
                <a:solidFill>
                  <a:srgbClr val="374957"/>
                </a:solidFill>
                <a:effectLst/>
                <a:highlight>
                  <a:srgbClr val="FFFFFF"/>
                </a:highlight>
                <a:latin typeface="Inter"/>
              </a:rPr>
              <a:t> und </a:t>
            </a:r>
            <a:r>
              <a:rPr lang="de-DE" b="0" i="0" err="1">
                <a:solidFill>
                  <a:srgbClr val="374957"/>
                </a:solidFill>
                <a:effectLst/>
                <a:highlight>
                  <a:srgbClr val="FFFFFF"/>
                </a:highlight>
                <a:latin typeface="Inter"/>
              </a:rPr>
              <a:t>Freepik</a:t>
            </a:r>
            <a:endParaRPr lang="de-DE"/>
          </a:p>
        </p:txBody>
      </p:sp>
    </p:spTree>
    <p:extLst>
      <p:ext uri="{BB962C8B-B14F-4D97-AF65-F5344CB8AC3E}">
        <p14:creationId xmlns:p14="http://schemas.microsoft.com/office/powerpoint/2010/main" val="2307933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5CA5E0A-ECB6-AE7D-D47D-FF529AC2CF7A}"/>
              </a:ext>
            </a:extLst>
          </p:cNvPr>
          <p:cNvGraphicFramePr>
            <a:graphicFrameLocks noChangeAspect="1"/>
          </p:cNvGraphicFramePr>
          <p:nvPr>
            <p:custDataLst>
              <p:tags r:id="rId1"/>
            </p:custDataLst>
            <p:extLst>
              <p:ext uri="{D42A27DB-BD31-4B8C-83A1-F6EECF244321}">
                <p14:modId xmlns:p14="http://schemas.microsoft.com/office/powerpoint/2010/main" val="118325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think-cell data - do not delete" hidden="1">
                        <a:extLst>
                          <a:ext uri="{FF2B5EF4-FFF2-40B4-BE49-F238E27FC236}">
                            <a16:creationId xmlns:a16="http://schemas.microsoft.com/office/drawing/2014/main" id="{25CA5E0A-ECB6-AE7D-D47D-FF529AC2CF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0A50D201-B741-512D-542F-E1CAB2163A00}"/>
              </a:ext>
            </a:extLst>
          </p:cNvPr>
          <p:cNvSpPr>
            <a:spLocks noGrp="1"/>
          </p:cNvSpPr>
          <p:nvPr>
            <p:ph type="sldNum" sz="quarter" idx="4"/>
          </p:nvPr>
        </p:nvSpPr>
        <p:spPr/>
        <p:txBody>
          <a:bodyPr/>
          <a:lstStyle/>
          <a:p>
            <a:fld id="{DF7F771E-9578-4C04-B869-01AF4C35C90C}" type="slidenum">
              <a:rPr lang="de-DE" smtClean="0"/>
              <a:t>9</a:t>
            </a:fld>
            <a:endParaRPr lang="de-DE"/>
          </a:p>
        </p:txBody>
      </p:sp>
      <p:sp>
        <p:nvSpPr>
          <p:cNvPr id="8" name="Untertitel 3">
            <a:extLst>
              <a:ext uri="{FF2B5EF4-FFF2-40B4-BE49-F238E27FC236}">
                <a16:creationId xmlns:a16="http://schemas.microsoft.com/office/drawing/2014/main" id="{AEF34621-DF1B-DD10-2DE7-99C74C9E38F2}"/>
              </a:ext>
            </a:extLst>
          </p:cNvPr>
          <p:cNvSpPr txBox="1">
            <a:spLocks/>
          </p:cNvSpPr>
          <p:nvPr/>
        </p:nvSpPr>
        <p:spPr>
          <a:xfrm>
            <a:off x="731189" y="1277938"/>
            <a:ext cx="6030186" cy="534097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a:buFont typeface="+mj-lt"/>
              <a:buAutoNum type="arabicPeriod" startAt="3"/>
            </a:pPr>
            <a:r>
              <a:rPr lang="en-US" b="1" i="1"/>
              <a:t>Set the Range</a:t>
            </a:r>
            <a:r>
              <a:rPr lang="en-US"/>
              <a:t>:</a:t>
            </a:r>
          </a:p>
          <a:p>
            <a:pPr lvl="1" algn="l">
              <a:buFont typeface="Arial" panose="020B0604020202020204" pitchFamily="34" charset="0"/>
              <a:buChar char="•"/>
            </a:pPr>
            <a:r>
              <a:rPr lang="en-US"/>
              <a:t>When measuring voltage, current, or resistance, it’s important to set the multimeter to the highest expected range first. This prevents damage to the multimeter and ensures safety.</a:t>
            </a:r>
          </a:p>
          <a:p>
            <a:pPr lvl="1" algn="l">
              <a:buFont typeface="Arial" panose="020B0604020202020204" pitchFamily="34" charset="0"/>
              <a:buChar char="•"/>
            </a:pPr>
            <a:r>
              <a:rPr lang="en-US"/>
              <a:t>For example, if you expect to measure a current up to 5A, set the dial to the 10A range first.</a:t>
            </a:r>
          </a:p>
          <a:p>
            <a:pPr>
              <a:buFont typeface="+mj-lt"/>
              <a:buAutoNum type="arabicPeriod" startAt="3"/>
            </a:pPr>
            <a:r>
              <a:rPr lang="en-US" b="1" i="1"/>
              <a:t>Connect the Probes</a:t>
            </a:r>
            <a:r>
              <a:rPr lang="en-US"/>
              <a:t>:</a:t>
            </a:r>
          </a:p>
          <a:p>
            <a:pPr lvl="1" algn="l">
              <a:buFont typeface="Arial" panose="020B0604020202020204" pitchFamily="34" charset="0"/>
              <a:buChar char="•"/>
            </a:pPr>
            <a:r>
              <a:rPr lang="en-US"/>
              <a:t>Plug the black probe into the "COM" port.</a:t>
            </a:r>
          </a:p>
          <a:p>
            <a:pPr lvl="1" algn="l">
              <a:buFont typeface="Arial" panose="020B0604020202020204" pitchFamily="34" charset="0"/>
              <a:buChar char="•"/>
            </a:pPr>
            <a:r>
              <a:rPr lang="en-US"/>
              <a:t>Plug the red probe into the appropriate port:</a:t>
            </a:r>
          </a:p>
          <a:p>
            <a:pPr lvl="2" algn="l">
              <a:buFont typeface="Arial" panose="020B0604020202020204" pitchFamily="34" charset="0"/>
              <a:buChar char="•"/>
            </a:pPr>
            <a:r>
              <a:rPr lang="en-US"/>
              <a:t>For voltage and resistance measurements, use "</a:t>
            </a:r>
            <a:r>
              <a:rPr lang="en-US" err="1"/>
              <a:t>VΩmA</a:t>
            </a:r>
            <a:r>
              <a:rPr lang="en-US"/>
              <a:t>".</a:t>
            </a:r>
          </a:p>
          <a:p>
            <a:pPr lvl="2" algn="l">
              <a:buFont typeface="Arial" panose="020B0604020202020204" pitchFamily="34" charset="0"/>
              <a:buChar char="•"/>
            </a:pPr>
            <a:r>
              <a:rPr lang="en-US"/>
              <a:t>For current measurements, use "</a:t>
            </a:r>
            <a:r>
              <a:rPr lang="en-US" err="1"/>
              <a:t>VΩmA</a:t>
            </a:r>
            <a:r>
              <a:rPr lang="en-US"/>
              <a:t>" or "10A" depending on the current.</a:t>
            </a:r>
          </a:p>
          <a:p>
            <a:pPr>
              <a:buFont typeface="+mj-lt"/>
              <a:buAutoNum type="arabicPeriod" startAt="3"/>
            </a:pPr>
            <a:r>
              <a:rPr lang="en-US" b="1" i="1"/>
              <a:t>Take the Measurement</a:t>
            </a:r>
            <a:r>
              <a:rPr lang="en-US"/>
              <a:t>:</a:t>
            </a:r>
          </a:p>
          <a:p>
            <a:pPr lvl="1" algn="l">
              <a:buFont typeface="Arial" panose="020B0604020202020204" pitchFamily="34" charset="0"/>
              <a:buChar char="•"/>
            </a:pPr>
            <a:r>
              <a:rPr lang="en-US"/>
              <a:t>Voltage: Hold the metal tips of the probes against the two points where you want to measure the voltage. Make sure to observe the correct polarity (positive and negative).</a:t>
            </a:r>
          </a:p>
          <a:p>
            <a:pPr lvl="1" algn="l">
              <a:buFont typeface="Arial" panose="020B0604020202020204" pitchFamily="34" charset="0"/>
              <a:buChar char="•"/>
            </a:pPr>
            <a:r>
              <a:rPr lang="en-US"/>
              <a:t>Current: Insert the multimeter into the circuit by breaking the circuit and connecting the multimeter in between so that the current flows through the multimeter.</a:t>
            </a:r>
          </a:p>
          <a:p>
            <a:pPr lvl="1" algn="l">
              <a:buFont typeface="Arial" panose="020B0604020202020204" pitchFamily="34" charset="0"/>
              <a:buChar char="•"/>
            </a:pPr>
            <a:r>
              <a:rPr lang="en-US"/>
              <a:t>Resistance: Hold the metal tips of the probes against the two ends of the component or connection where you want to measure resistance.</a:t>
            </a:r>
          </a:p>
          <a:p>
            <a:pPr>
              <a:buFont typeface="+mj-lt"/>
              <a:buAutoNum type="arabicPeriod" startAt="3"/>
            </a:pPr>
            <a:r>
              <a:rPr lang="en-US" b="1" i="1"/>
              <a:t>Read the Result</a:t>
            </a:r>
            <a:r>
              <a:rPr lang="en-US"/>
              <a:t>:</a:t>
            </a:r>
          </a:p>
          <a:p>
            <a:pPr lvl="1" algn="l">
              <a:buFont typeface="Arial" panose="020B0604020202020204" pitchFamily="34" charset="0"/>
              <a:buChar char="•"/>
            </a:pPr>
            <a:r>
              <a:rPr lang="en-US"/>
              <a:t>Read the measurement on the display. Pay attention to the unit (V, A, mA, Ω).</a:t>
            </a:r>
          </a:p>
          <a:p>
            <a:pPr>
              <a:buFont typeface="+mj-lt"/>
              <a:buAutoNum type="arabicPeriod" startAt="3"/>
            </a:pPr>
            <a:r>
              <a:rPr lang="en-US" b="1" i="1"/>
              <a:t>Turn Off the Multimeter</a:t>
            </a:r>
            <a:r>
              <a:rPr lang="en-US"/>
              <a:t>:</a:t>
            </a:r>
          </a:p>
          <a:p>
            <a:pPr lvl="1" algn="l">
              <a:buFont typeface="Arial" panose="020B0604020202020204" pitchFamily="34" charset="0"/>
              <a:buChar char="•"/>
            </a:pPr>
            <a:r>
              <a:rPr lang="en-US"/>
              <a:t>After the measurement, turn off the multimeter by turning the dial to "OFF".</a:t>
            </a:r>
          </a:p>
        </p:txBody>
      </p:sp>
      <p:sp>
        <p:nvSpPr>
          <p:cNvPr id="23" name="Untertitel 3">
            <a:extLst>
              <a:ext uri="{FF2B5EF4-FFF2-40B4-BE49-F238E27FC236}">
                <a16:creationId xmlns:a16="http://schemas.microsoft.com/office/drawing/2014/main" id="{4DD40015-C150-34DE-4E49-1B3A399F1E9B}"/>
              </a:ext>
            </a:extLst>
          </p:cNvPr>
          <p:cNvSpPr txBox="1">
            <a:spLocks/>
          </p:cNvSpPr>
          <p:nvPr/>
        </p:nvSpPr>
        <p:spPr>
          <a:xfrm>
            <a:off x="1663311" y="7014823"/>
            <a:ext cx="5256866" cy="13490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Never measure voltage when the multimeter is set to measure current or resistance! This can damage the device or put you at risk.</a:t>
            </a:r>
          </a:p>
          <a:p>
            <a:pPr marL="139700" indent="0"/>
            <a:r>
              <a:rPr lang="en-US" dirty="0"/>
              <a:t>Be cautious with high voltages and currents and make sure you know what you are doing.</a:t>
            </a:r>
          </a:p>
          <a:p>
            <a:pPr marL="139700" indent="0"/>
            <a:r>
              <a:rPr lang="en-US" dirty="0"/>
              <a:t>Always start with the highest expected range to avoid damaging the multimeter or endangering yourself.</a:t>
            </a:r>
          </a:p>
          <a:p>
            <a:endParaRPr lang="en-US" dirty="0"/>
          </a:p>
        </p:txBody>
      </p:sp>
      <p:sp>
        <p:nvSpPr>
          <p:cNvPr id="24" name="Untertitel 5">
            <a:extLst>
              <a:ext uri="{FF2B5EF4-FFF2-40B4-BE49-F238E27FC236}">
                <a16:creationId xmlns:a16="http://schemas.microsoft.com/office/drawing/2014/main" id="{E7CAAAB2-3BAD-8409-0913-CF4C4DBEEBC7}"/>
              </a:ext>
            </a:extLst>
          </p:cNvPr>
          <p:cNvSpPr txBox="1">
            <a:spLocks/>
          </p:cNvSpPr>
          <p:nvPr/>
        </p:nvSpPr>
        <p:spPr>
          <a:xfrm>
            <a:off x="731189" y="6633996"/>
            <a:ext cx="4511440" cy="4186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800"/>
              <a:buFont typeface="Epilogue"/>
              <a:buNone/>
              <a:defRPr sz="1488" b="1" i="0" u="none" strike="noStrike" cap="none">
                <a:solidFill>
                  <a:schemeClr val="dk1"/>
                </a:solidFill>
                <a:latin typeface="Epilogue"/>
                <a:ea typeface="Epilogue"/>
                <a:cs typeface="Epilogue"/>
                <a:sym typeface="Epilogue"/>
              </a:defRPr>
            </a:lvl1pPr>
            <a:lvl2pPr marL="914400" marR="0" lvl="1"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2pPr>
            <a:lvl3pPr marL="1371600" marR="0" lvl="2"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3pPr>
            <a:lvl4pPr marL="1828800" marR="0" lvl="3"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4pPr>
            <a:lvl5pPr marL="2286000" marR="0" lvl="4"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5pPr>
            <a:lvl6pPr marL="2743200" marR="0" lvl="5"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6pPr>
            <a:lvl7pPr marL="3200400" marR="0" lvl="6"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7pPr>
            <a:lvl8pPr marL="3657600" marR="0" lvl="7"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8pPr>
            <a:lvl9pPr marL="4114800" marR="0" lvl="8" indent="-317500" algn="ctr" rtl="0">
              <a:lnSpc>
                <a:spcPct val="115000"/>
              </a:lnSpc>
              <a:spcBef>
                <a:spcPts val="0"/>
              </a:spcBef>
              <a:spcAft>
                <a:spcPts val="0"/>
              </a:spcAft>
              <a:buClr>
                <a:schemeClr val="dk1"/>
              </a:buClr>
              <a:buSzPts val="1800"/>
              <a:buFont typeface="Epilogue"/>
              <a:buNone/>
              <a:defRPr sz="1488" b="1" i="0" u="none" strike="noStrike" cap="none">
                <a:solidFill>
                  <a:schemeClr val="dk1"/>
                </a:solidFill>
                <a:latin typeface="Epilogue"/>
                <a:ea typeface="Epilogue"/>
                <a:cs typeface="Epilogue"/>
                <a:sym typeface="Epilogue"/>
              </a:defRPr>
            </a:lvl9pPr>
          </a:lstStyle>
          <a:p>
            <a:r>
              <a:rPr lang="ne-NP" sz="1200">
                <a:solidFill>
                  <a:schemeClr val="accent2"/>
                </a:solidFill>
              </a:rPr>
              <a:t>Important Safety Tips</a:t>
            </a:r>
          </a:p>
        </p:txBody>
      </p:sp>
      <p:pic>
        <p:nvPicPr>
          <p:cNvPr id="25" name="Picture 34">
            <a:extLst>
              <a:ext uri="{FF2B5EF4-FFF2-40B4-BE49-F238E27FC236}">
                <a16:creationId xmlns:a16="http://schemas.microsoft.com/office/drawing/2014/main" id="{153987F6-E94E-CC77-C51F-6C3CD89D68CB}"/>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19138" y="7161888"/>
            <a:ext cx="874770" cy="1054870"/>
          </a:xfrm>
          <a:prstGeom prst="rect">
            <a:avLst/>
          </a:prstGeom>
          <a:noFill/>
        </p:spPr>
      </p:pic>
      <p:sp>
        <p:nvSpPr>
          <p:cNvPr id="27" name="Untertitel 3">
            <a:extLst>
              <a:ext uri="{FF2B5EF4-FFF2-40B4-BE49-F238E27FC236}">
                <a16:creationId xmlns:a16="http://schemas.microsoft.com/office/drawing/2014/main" id="{62BA7CF3-CF82-C780-76A2-0C4374DC7301}"/>
              </a:ext>
            </a:extLst>
          </p:cNvPr>
          <p:cNvSpPr txBox="1">
            <a:spLocks/>
          </p:cNvSpPr>
          <p:nvPr/>
        </p:nvSpPr>
        <p:spPr>
          <a:xfrm>
            <a:off x="731189" y="8461999"/>
            <a:ext cx="6042237" cy="13490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Sofia Sans"/>
              <a:buNone/>
              <a:defRPr sz="1157" b="0" i="0" u="none" strike="noStrike" cap="none">
                <a:solidFill>
                  <a:schemeClr val="dk1"/>
                </a:solidFill>
                <a:latin typeface="Sofia Sans"/>
                <a:ea typeface="Sofia Sans"/>
                <a:cs typeface="Sofia Sans"/>
                <a:sym typeface="Sofia Sans"/>
              </a:defRPr>
            </a:lvl1pPr>
            <a:lvl2pPr marL="914400" marR="0" lvl="1"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2pPr>
            <a:lvl3pPr marL="1371600" marR="0" lvl="2"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3pPr>
            <a:lvl4pPr marL="1828800" marR="0" lvl="3"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4pPr>
            <a:lvl5pPr marL="2286000" marR="0" lvl="4"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5pPr>
            <a:lvl6pPr marL="2743200" marR="0" lvl="5"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6pPr>
            <a:lvl7pPr marL="3200400" marR="0" lvl="6"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7pPr>
            <a:lvl8pPr marL="3657600" marR="0" lvl="7"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8pPr>
            <a:lvl9pPr marL="4114800" marR="0" lvl="8" indent="-317500" algn="ctr" rtl="0">
              <a:lnSpc>
                <a:spcPct val="115000"/>
              </a:lnSpc>
              <a:spcBef>
                <a:spcPts val="0"/>
              </a:spcBef>
              <a:spcAft>
                <a:spcPts val="0"/>
              </a:spcAft>
              <a:buClr>
                <a:schemeClr val="dk1"/>
              </a:buClr>
              <a:buSzPts val="1400"/>
              <a:buFont typeface="Sofia Sans"/>
              <a:buNone/>
              <a:defRPr sz="1157" b="0" i="0" u="none" strike="noStrike" cap="none">
                <a:solidFill>
                  <a:schemeClr val="dk1"/>
                </a:solidFill>
                <a:latin typeface="Sofia Sans"/>
                <a:ea typeface="Sofia Sans"/>
                <a:cs typeface="Sofia Sans"/>
                <a:sym typeface="Sofia Sans"/>
              </a:defRPr>
            </a:lvl9pPr>
          </a:lstStyle>
          <a:p>
            <a:pPr marL="139700" indent="0"/>
            <a:r>
              <a:rPr lang="en-US" dirty="0"/>
              <a:t>Tip: Just like with any electrical work, remember "hands off!" If your fingers touch the probes, the current might pass through your body, meaning the multimeter won’t measure the circuit accurately.</a:t>
            </a:r>
          </a:p>
          <a:p>
            <a:pPr marL="139700" indent="0"/>
            <a:endParaRPr lang="en-US" dirty="0"/>
          </a:p>
          <a:p>
            <a:pPr marL="139700" indent="0"/>
            <a:r>
              <a:rPr lang="en-US" dirty="0"/>
              <a:t>With these steps, you can safely and effectively use a multimeter. Enjoy measuring and discovering the world of electricity!</a:t>
            </a:r>
          </a:p>
          <a:p>
            <a:endParaRPr lang="en-US" dirty="0"/>
          </a:p>
        </p:txBody>
      </p:sp>
    </p:spTree>
    <p:extLst>
      <p:ext uri="{BB962C8B-B14F-4D97-AF65-F5344CB8AC3E}">
        <p14:creationId xmlns:p14="http://schemas.microsoft.com/office/powerpoint/2010/main" val="1871282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ectrical Energy and Power in Physics by Slidesgo">
  <a:themeElements>
    <a:clrScheme name="Simple Light">
      <a:dk1>
        <a:srgbClr val="333333"/>
      </a:dk1>
      <a:lt1>
        <a:srgbClr val="A15315"/>
      </a:lt1>
      <a:dk2>
        <a:srgbClr val="F5F3EF"/>
      </a:dk2>
      <a:lt2>
        <a:srgbClr val="CEA634"/>
      </a:lt2>
      <a:accent1>
        <a:srgbClr val="BD6762"/>
      </a:accent1>
      <a:accent2>
        <a:srgbClr val="97453F"/>
      </a:accent2>
      <a:accent3>
        <a:srgbClr val="63AA8A"/>
      </a:accent3>
      <a:accent4>
        <a:srgbClr val="315544"/>
      </a:accent4>
      <a:accent5>
        <a:srgbClr val="4E749C"/>
      </a:accent5>
      <a:accent6>
        <a:srgbClr val="BDC1C5"/>
      </a:accent6>
      <a:hlink>
        <a:srgbClr val="333333"/>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A165D6A8B98D0F4FB158B27E667A45EA" ma:contentTypeVersion="12" ma:contentTypeDescription="Ein neues Dokument erstellen." ma:contentTypeScope="" ma:versionID="d646bc2ede1e097566c4056ec87e48a6">
  <xsd:schema xmlns:xsd="http://www.w3.org/2001/XMLSchema" xmlns:xs="http://www.w3.org/2001/XMLSchema" xmlns:p="http://schemas.microsoft.com/office/2006/metadata/properties" xmlns:ns2="181540e7-131f-4e26-b2a0-b0b0a6619349" xmlns:ns3="ecb5eb42-8f9c-4501-ae84-225180f68d18" targetNamespace="http://schemas.microsoft.com/office/2006/metadata/properties" ma:root="true" ma:fieldsID="9bc74f8044df099d418e379c7b2ffdd1" ns2:_="" ns3:_="">
    <xsd:import namespace="181540e7-131f-4e26-b2a0-b0b0a6619349"/>
    <xsd:import namespace="ecb5eb42-8f9c-4501-ae84-225180f68d1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1540e7-131f-4e26-b2a0-b0b0a66193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14ae72d6-1d51-44e0-a414-869ae22c088a"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cb5eb42-8f9c-4501-ae84-225180f68d1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89a89f1-caae-47b2-9505-1c24c71c4b6a}" ma:internalName="TaxCatchAll" ma:showField="CatchAllData" ma:web="ecb5eb42-8f9c-4501-ae84-225180f68d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81540e7-131f-4e26-b2a0-b0b0a6619349">
      <Terms xmlns="http://schemas.microsoft.com/office/infopath/2007/PartnerControls"/>
    </lcf76f155ced4ddcb4097134ff3c332f>
    <TaxCatchAll xmlns="ecb5eb42-8f9c-4501-ae84-225180f68d18" xsi:nil="true"/>
  </documentManagement>
</p:properties>
</file>

<file path=customXml/itemProps1.xml><?xml version="1.0" encoding="utf-8"?>
<ds:datastoreItem xmlns:ds="http://schemas.openxmlformats.org/officeDocument/2006/customXml" ds:itemID="{07342551-19C1-4ACD-A17E-0964D2B2E147}">
  <ds:schemaRefs>
    <ds:schemaRef ds:uri="http://schemas.microsoft.com/sharepoint/v3/contenttype/forms"/>
  </ds:schemaRefs>
</ds:datastoreItem>
</file>

<file path=customXml/itemProps2.xml><?xml version="1.0" encoding="utf-8"?>
<ds:datastoreItem xmlns:ds="http://schemas.openxmlformats.org/officeDocument/2006/customXml" ds:itemID="{5F036FFB-7503-4B0E-89C5-5882129660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1540e7-131f-4e26-b2a0-b0b0a6619349"/>
    <ds:schemaRef ds:uri="ecb5eb42-8f9c-4501-ae84-225180f68d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BB26B82-AD65-47F9-A15A-8B75F4BDE6CA}">
  <ds:schemaRefs>
    <ds:schemaRef ds:uri="http://purl.org/dc/terms/"/>
    <ds:schemaRef ds:uri="http://schemas.microsoft.com/office/2006/metadata/properties"/>
    <ds:schemaRef ds:uri="http://www.w3.org/XML/1998/namespace"/>
    <ds:schemaRef ds:uri="http://schemas.openxmlformats.org/package/2006/metadata/core-properties"/>
    <ds:schemaRef ds:uri="http://schemas.microsoft.com/office/2006/documentManagement/types"/>
    <ds:schemaRef ds:uri="http://purl.org/dc/elements/1.1/"/>
    <ds:schemaRef ds:uri="http://schemas.microsoft.com/office/infopath/2007/PartnerControls"/>
    <ds:schemaRef ds:uri="ecb5eb42-8f9c-4501-ae84-225180f68d18"/>
    <ds:schemaRef ds:uri="181540e7-131f-4e26-b2a0-b0b0a6619349"/>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4581</Words>
  <Application>Microsoft Office PowerPoint</Application>
  <PresentationFormat>Benutzerdefiniert</PresentationFormat>
  <Paragraphs>1272</Paragraphs>
  <Slides>82</Slides>
  <Notes>7</Notes>
  <HiddenSlides>1</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82</vt:i4>
      </vt:variant>
    </vt:vector>
  </HeadingPairs>
  <TitlesOfParts>
    <vt:vector size="93" baseType="lpstr">
      <vt:lpstr>Sofia Sans</vt:lpstr>
      <vt:lpstr>Anaheim</vt:lpstr>
      <vt:lpstr>Inter</vt:lpstr>
      <vt:lpstr>Wingdings</vt:lpstr>
      <vt:lpstr>Symbol</vt:lpstr>
      <vt:lpstr>Arial</vt:lpstr>
      <vt:lpstr>Times New Roman</vt:lpstr>
      <vt:lpstr>Epilogue</vt:lpstr>
      <vt:lpstr>Nunito Light</vt:lpstr>
      <vt:lpstr>Electrical Energy and Power in Physics by Slidesgo</vt:lpstr>
      <vt:lpstr>think-cell Folie</vt:lpstr>
      <vt:lpstr>PV Education HUB</vt:lpstr>
      <vt:lpstr>Introduction</vt:lpstr>
      <vt:lpstr>PowerPoint-Präsentation</vt:lpstr>
      <vt:lpstr>Table of contents</vt:lpstr>
      <vt:lpstr>PowerPoint-Präsentation</vt:lpstr>
      <vt:lpstr>Why is PV important?</vt:lpstr>
      <vt:lpstr>PowerPoint-Präsentation</vt:lpstr>
      <vt:lpstr>How to use a Multimeter</vt:lpstr>
      <vt:lpstr>PowerPoint-Präsentation</vt:lpstr>
      <vt:lpstr>PV Kit Overview</vt:lpstr>
      <vt:lpstr>PowerPoint-Präsentation</vt:lpstr>
      <vt:lpstr>PowerPoint-Präsentation</vt:lpstr>
      <vt:lpstr>PV Education HUB Chapter 1</vt:lpstr>
      <vt:lpstr>Basics</vt:lpstr>
      <vt:lpstr>PowerPoint-Präsentation</vt:lpstr>
      <vt:lpstr>1. Light colour</vt:lpstr>
      <vt:lpstr>PowerPoint-Präsentation</vt:lpstr>
      <vt:lpstr>PowerPoint-Präsentation</vt:lpstr>
      <vt:lpstr>2. Angle of incidence</vt:lpstr>
      <vt:lpstr>PowerPoint-Präsentation</vt:lpstr>
      <vt:lpstr>PowerPoint-Präsentation</vt:lpstr>
      <vt:lpstr>PowerPoint-Präsentation</vt:lpstr>
      <vt:lpstr>3. Light intensity</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V Education HUB Chapter 2</vt:lpstr>
      <vt:lpstr>Connecting to a load and MPP</vt:lpstr>
      <vt:lpstr>1. PV panels in series</vt:lpstr>
      <vt:lpstr>PowerPoint-Präsentation</vt:lpstr>
      <vt:lpstr>PowerPoint-Präsentation</vt:lpstr>
      <vt:lpstr>2. PV panels in parallel</vt:lpstr>
      <vt:lpstr>PowerPoint-Präsentation</vt:lpstr>
      <vt:lpstr>PowerPoint-Präsentation</vt:lpstr>
      <vt:lpstr>PowerPoint-Präsentation</vt:lpstr>
      <vt:lpstr>3. Fixed Load (Resistor)</vt:lpstr>
      <vt:lpstr>PowerPoint-Präsentation</vt:lpstr>
      <vt:lpstr>PowerPoint-Präsentation</vt:lpstr>
      <vt:lpstr>4. Changing Load</vt:lpstr>
      <vt:lpstr>PowerPoint-Präsentation</vt:lpstr>
      <vt:lpstr>PowerPoint-Präsentation</vt:lpstr>
      <vt:lpstr>PowerPoint-Präsentation</vt:lpstr>
      <vt:lpstr>5. Local conditions and load changes</vt:lpstr>
      <vt:lpstr>PowerPoint-Präsentation</vt:lpstr>
      <vt:lpstr>PV Education HUB Chapter 3</vt:lpstr>
      <vt:lpstr>1. MPPT – Maximum Power Point Tracking</vt:lpstr>
      <vt:lpstr>PowerPoint-Präsentation</vt:lpstr>
      <vt:lpstr>PowerPoint-Präsentation</vt:lpstr>
      <vt:lpstr>PowerPoint-Präsentation</vt:lpstr>
      <vt:lpstr>PowerPoint-Präsentation</vt:lpstr>
      <vt:lpstr>PowerPoint-Präsentation</vt:lpstr>
      <vt:lpstr>PowerPoint-Präsentation</vt:lpstr>
      <vt:lpstr>PV Education HUB Chapter 4</vt:lpstr>
      <vt:lpstr>Connecting to a load and MPP</vt:lpstr>
      <vt:lpstr>Exercise: Analyzing Energy Consumption Profiles of Household Appliance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Well do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V  in Physics</dc:title>
  <dc:creator>Sefa Sert</dc:creator>
  <cp:lastModifiedBy>Johanna Marx</cp:lastModifiedBy>
  <cp:revision>3</cp:revision>
  <dcterms:modified xsi:type="dcterms:W3CDTF">2025-01-29T13:3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3921543DE49949867E227980503546</vt:lpwstr>
  </property>
  <property fmtid="{D5CDD505-2E9C-101B-9397-08002B2CF9AE}" pid="3" name="MediaServiceImageTags">
    <vt:lpwstr/>
  </property>
</Properties>
</file>